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8.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9.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tags/tag34.xml" ContentType="application/vnd.openxmlformats-officedocument.presentationml.tags+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5.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9.xml" ContentType="application/vnd.openxmlformats-officedocument.presentationml.notesSlide+xml"/>
  <Override PartName="/ppt/tags/tag36.xml" ContentType="application/vnd.openxmlformats-officedocument.presentationml.tags+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7.xml" ContentType="application/vnd.openxmlformats-officedocument.presentationml.tags+xml"/>
  <Override PartName="/ppt/notesSlides/notesSlide21.xml" ContentType="application/vnd.openxmlformats-officedocument.presentationml.notesSlide+xml"/>
  <Override PartName="/ppt/tags/tag38.xml" ContentType="application/vnd.openxmlformats-officedocument.presentationml.tags+xml"/>
  <Override PartName="/ppt/notesSlides/notesSlide2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9.xml" ContentType="application/vnd.openxmlformats-officedocument.presentationml.tags+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0.xml" ContentType="application/vnd.openxmlformats-officedocument.presentationml.tags+xml"/>
  <Override PartName="/ppt/tags/tag41.xml" ContentType="application/vnd.openxmlformats-officedocument.presentationml.tags+xml"/>
  <Override PartName="/ppt/notesSlides/notesSlide2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6.xml" ContentType="application/vnd.openxmlformats-officedocument.presentationml.tags+xml"/>
  <Override PartName="/ppt/notesSlides/notesSlide2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47.xml" ContentType="application/vnd.openxmlformats-officedocument.presentationml.tags+xml"/>
  <Override PartName="/ppt/notesSlides/notesSlide3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3.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48.xml" ContentType="application/vnd.openxmlformats-officedocument.presentationml.tags+xml"/>
  <Override PartName="/ppt/tags/tag49.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1.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2.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3.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46.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47.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notesSlides/notesSlide4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5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54.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58.xml" ContentType="application/vnd.openxmlformats-officedocument.presentationml.tags+xml"/>
  <Override PartName="/ppt/notesSlides/notesSlide61.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2" r:id="rId16"/>
    <p:sldMasterId id="2147483812" r:id="rId17"/>
    <p:sldMasterId id="2147483888" r:id="rId18"/>
    <p:sldMasterId id="2147483897" r:id="rId19"/>
    <p:sldMasterId id="2147483944" r:id="rId20"/>
    <p:sldMasterId id="2147483989" r:id="rId21"/>
    <p:sldMasterId id="2147484082" r:id="rId22"/>
    <p:sldMasterId id="2147484130" r:id="rId23"/>
    <p:sldMasterId id="2147484175" r:id="rId24"/>
  </p:sldMasterIdLst>
  <p:notesMasterIdLst>
    <p:notesMasterId r:id="rId96"/>
  </p:notesMasterIdLst>
  <p:handoutMasterIdLst>
    <p:handoutMasterId r:id="rId97"/>
  </p:handoutMasterIdLst>
  <p:sldIdLst>
    <p:sldId id="260" r:id="rId25"/>
    <p:sldId id="258" r:id="rId26"/>
    <p:sldId id="562" r:id="rId27"/>
    <p:sldId id="578" r:id="rId28"/>
    <p:sldId id="579" r:id="rId29"/>
    <p:sldId id="580" r:id="rId30"/>
    <p:sldId id="1569" r:id="rId31"/>
    <p:sldId id="1562" r:id="rId32"/>
    <p:sldId id="477" r:id="rId33"/>
    <p:sldId id="1570" r:id="rId34"/>
    <p:sldId id="1572" r:id="rId35"/>
    <p:sldId id="581" r:id="rId36"/>
    <p:sldId id="583" r:id="rId37"/>
    <p:sldId id="584" r:id="rId38"/>
    <p:sldId id="561" r:id="rId39"/>
    <p:sldId id="534" r:id="rId40"/>
    <p:sldId id="652" r:id="rId41"/>
    <p:sldId id="650" r:id="rId42"/>
    <p:sldId id="653" r:id="rId43"/>
    <p:sldId id="1567" r:id="rId44"/>
    <p:sldId id="1506" r:id="rId45"/>
    <p:sldId id="1566" r:id="rId46"/>
    <p:sldId id="621" r:id="rId47"/>
    <p:sldId id="1563" r:id="rId48"/>
    <p:sldId id="1504" r:id="rId49"/>
    <p:sldId id="1573" r:id="rId50"/>
    <p:sldId id="1512" r:id="rId51"/>
    <p:sldId id="624" r:id="rId52"/>
    <p:sldId id="575" r:id="rId53"/>
    <p:sldId id="576" r:id="rId54"/>
    <p:sldId id="577" r:id="rId55"/>
    <p:sldId id="585" r:id="rId56"/>
    <p:sldId id="586" r:id="rId57"/>
    <p:sldId id="629" r:id="rId58"/>
    <p:sldId id="1555" r:id="rId59"/>
    <p:sldId id="631" r:id="rId60"/>
    <p:sldId id="641" r:id="rId61"/>
    <p:sldId id="630" r:id="rId62"/>
    <p:sldId id="646" r:id="rId63"/>
    <p:sldId id="636" r:id="rId64"/>
    <p:sldId id="638" r:id="rId65"/>
    <p:sldId id="639" r:id="rId66"/>
    <p:sldId id="590" r:id="rId67"/>
    <p:sldId id="591" r:id="rId68"/>
    <p:sldId id="599" r:id="rId69"/>
    <p:sldId id="600" r:id="rId70"/>
    <p:sldId id="704" r:id="rId71"/>
    <p:sldId id="705" r:id="rId72"/>
    <p:sldId id="696" r:id="rId73"/>
    <p:sldId id="697" r:id="rId74"/>
    <p:sldId id="701" r:id="rId75"/>
    <p:sldId id="700" r:id="rId76"/>
    <p:sldId id="703" r:id="rId77"/>
    <p:sldId id="1571" r:id="rId78"/>
    <p:sldId id="610" r:id="rId79"/>
    <p:sldId id="604" r:id="rId80"/>
    <p:sldId id="605" r:id="rId81"/>
    <p:sldId id="592" r:id="rId82"/>
    <p:sldId id="593" r:id="rId83"/>
    <p:sldId id="762" r:id="rId84"/>
    <p:sldId id="672" r:id="rId85"/>
    <p:sldId id="673" r:id="rId86"/>
    <p:sldId id="674" r:id="rId87"/>
    <p:sldId id="675" r:id="rId88"/>
    <p:sldId id="678" r:id="rId89"/>
    <p:sldId id="679" r:id="rId90"/>
    <p:sldId id="1564" r:id="rId91"/>
    <p:sldId id="683" r:id="rId92"/>
    <p:sldId id="597" r:id="rId93"/>
    <p:sldId id="598" r:id="rId94"/>
    <p:sldId id="259" r:id="rId95"/>
  </p:sldIdLst>
  <p:sldSz cx="12192000" cy="6858000"/>
  <p:notesSz cx="6858000" cy="9144000"/>
  <p:custDataLst>
    <p:tags r:id="rId9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SQL Server Page Structure" id="{C164F977-020D-4418-9DE6-021C7FD230FE}">
          <p14:sldIdLst>
            <p14:sldId id="578"/>
            <p14:sldId id="579"/>
            <p14:sldId id="580"/>
            <p14:sldId id="1569"/>
            <p14:sldId id="1562"/>
            <p14:sldId id="477"/>
            <p14:sldId id="1570"/>
            <p14:sldId id="1572"/>
            <p14:sldId id="581"/>
            <p14:sldId id="583"/>
            <p14:sldId id="584"/>
          </p14:sldIdLst>
        </p14:section>
        <p14:section name="Lesson 2: SQL Server Disk I/O" id="{25ADF4C8-2200-4410-9F45-B05F5BA6D4E6}">
          <p14:sldIdLst>
            <p14:sldId id="561"/>
            <p14:sldId id="534"/>
            <p14:sldId id="652"/>
            <p14:sldId id="650"/>
            <p14:sldId id="653"/>
            <p14:sldId id="1567"/>
            <p14:sldId id="1506"/>
            <p14:sldId id="1566"/>
            <p14:sldId id="621"/>
            <p14:sldId id="1563"/>
            <p14:sldId id="1504"/>
            <p14:sldId id="1573"/>
            <p14:sldId id="1512"/>
            <p14:sldId id="624"/>
            <p14:sldId id="575"/>
            <p14:sldId id="576"/>
            <p14:sldId id="577"/>
          </p14:sldIdLst>
        </p14:section>
        <p14:section name="Lesson 3: SQL Server Data File Structure" id="{116884A5-6A67-4FED-B1AB-448E0EBD0925}">
          <p14:sldIdLst>
            <p14:sldId id="585"/>
            <p14:sldId id="586"/>
            <p14:sldId id="629"/>
            <p14:sldId id="1555"/>
            <p14:sldId id="631"/>
            <p14:sldId id="641"/>
            <p14:sldId id="630"/>
            <p14:sldId id="646"/>
            <p14:sldId id="636"/>
            <p14:sldId id="638"/>
            <p14:sldId id="639"/>
            <p14:sldId id="590"/>
            <p14:sldId id="591"/>
          </p14:sldIdLst>
        </p14:section>
        <p14:section name="Lesson 4: SQL Server TempDB File Structure" id="{0AAC784B-5711-49CB-BE59-FBB2807262BC}">
          <p14:sldIdLst>
            <p14:sldId id="599"/>
            <p14:sldId id="600"/>
            <p14:sldId id="704"/>
            <p14:sldId id="705"/>
            <p14:sldId id="696"/>
            <p14:sldId id="697"/>
            <p14:sldId id="701"/>
            <p14:sldId id="700"/>
            <p14:sldId id="703"/>
            <p14:sldId id="1571"/>
            <p14:sldId id="610"/>
            <p14:sldId id="604"/>
            <p14:sldId id="605"/>
          </p14:sldIdLst>
        </p14:section>
        <p14:section name="Lesson 5: SQL Server Log File Structure" id="{6A5AF162-43AE-40C9-9E7C-1FA4CC68A646}">
          <p14:sldIdLst>
            <p14:sldId id="592"/>
            <p14:sldId id="593"/>
            <p14:sldId id="762"/>
            <p14:sldId id="672"/>
            <p14:sldId id="673"/>
            <p14:sldId id="674"/>
            <p14:sldId id="675"/>
            <p14:sldId id="678"/>
            <p14:sldId id="679"/>
            <p14:sldId id="1564"/>
            <p14:sldId id="683"/>
            <p14:sldId id="597"/>
            <p14:sldId id="598"/>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0078D4"/>
    <a:srgbClr val="91ABD5"/>
    <a:srgbClr val="C8D5EA"/>
    <a:srgbClr val="243A5E"/>
    <a:srgbClr val="D59DFF"/>
    <a:srgbClr val="30E5D0"/>
    <a:srgbClr val="008575"/>
    <a:srgbClr val="9BF00B"/>
    <a:srgbClr val="5152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9F0084-81E5-467A-873D-2557E2EA9E67}" v="9" dt="2024-01-31T08:05:07.7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53650" autoAdjust="0"/>
  </p:normalViewPr>
  <p:slideViewPr>
    <p:cSldViewPr snapToGrid="0">
      <p:cViewPr varScale="1">
        <p:scale>
          <a:sx n="47" d="100"/>
          <a:sy n="47" d="100"/>
        </p:scale>
        <p:origin x="1445" y="53"/>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6.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16" Type="http://schemas.openxmlformats.org/officeDocument/2006/relationships/slideMaster" Target="slideMasters/slideMaster1.xml"/><Relationship Id="rId11" Type="http://schemas.openxmlformats.org/officeDocument/2006/relationships/customXml" Target="../customXml/item11.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theme" Target="theme/theme1.xml"/><Relationship Id="rId5" Type="http://schemas.openxmlformats.org/officeDocument/2006/relationships/customXml" Target="../customXml/item5.xml"/><Relationship Id="rId90" Type="http://schemas.openxmlformats.org/officeDocument/2006/relationships/slide" Target="slides/slide66.xml"/><Relationship Id="rId95" Type="http://schemas.openxmlformats.org/officeDocument/2006/relationships/slide" Target="slides/slide71.xml"/><Relationship Id="rId22" Type="http://schemas.openxmlformats.org/officeDocument/2006/relationships/slideMaster" Target="slideMasters/slideMaster7.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80" Type="http://schemas.openxmlformats.org/officeDocument/2006/relationships/slide" Target="slides/slide56.xml"/><Relationship Id="rId85" Type="http://schemas.openxmlformats.org/officeDocument/2006/relationships/slide" Target="slides/slide61.xml"/><Relationship Id="rId12" Type="http://schemas.openxmlformats.org/officeDocument/2006/relationships/customXml" Target="../customXml/item12.xml"/><Relationship Id="rId17" Type="http://schemas.openxmlformats.org/officeDocument/2006/relationships/slideMaster" Target="slideMasters/slideMaster2.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tableStyles" Target="tableStyles.xml"/><Relationship Id="rId20" Type="http://schemas.openxmlformats.org/officeDocument/2006/relationships/slideMaster" Target="slideMasters/slideMaster5.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slide" Target="slides/slide64.xml"/><Relationship Id="rId91" Type="http://schemas.openxmlformats.org/officeDocument/2006/relationships/slide" Target="slides/slide6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8.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 Type="http://schemas.openxmlformats.org/officeDocument/2006/relationships/customXml" Target="../customXml/item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3.xml"/><Relationship Id="rId39" Type="http://schemas.openxmlformats.org/officeDocument/2006/relationships/slide" Target="slides/slide1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handoutMaster" Target="handoutMasters/handoutMaster1.xml"/><Relationship Id="rId104" Type="http://schemas.microsoft.com/office/2016/11/relationships/changesInfo" Target="changesInfos/changesInfo1.xml"/><Relationship Id="rId7" Type="http://schemas.openxmlformats.org/officeDocument/2006/relationships/customXml" Target="../customXml/item7.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9.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slideMaster" Target="slideMasters/slideMaster4.xml"/><Relationship Id="rId14" Type="http://schemas.openxmlformats.org/officeDocument/2006/relationships/customXml" Target="../customXml/item14.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presProps" Target="presProps.xml"/><Relationship Id="rId105"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tags" Target="tags/tag1.xml"/><Relationship Id="rId3" Type="http://schemas.openxmlformats.org/officeDocument/2006/relationships/customXml" Target="../customXml/item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619F0084-81E5-467A-873D-2557E2EA9E67}"/>
    <pc:docChg chg="undo custSel addSld delSld modSld sldOrd delSection modSection">
      <pc:chgData name="John Deardurff" userId="a22eae058e899168" providerId="LiveId" clId="{619F0084-81E5-467A-873D-2557E2EA9E67}" dt="2024-01-31T08:06:25.483" v="42"/>
      <pc:docMkLst>
        <pc:docMk/>
      </pc:docMkLst>
      <pc:sldChg chg="del">
        <pc:chgData name="John Deardurff" userId="a22eae058e899168" providerId="LiveId" clId="{619F0084-81E5-467A-873D-2557E2EA9E67}" dt="2024-01-20T10:30:22.275" v="5" actId="47"/>
        <pc:sldMkLst>
          <pc:docMk/>
          <pc:sldMk cId="3235270007" sldId="257"/>
        </pc:sldMkLst>
      </pc:sldChg>
      <pc:sldChg chg="mod modShow">
        <pc:chgData name="John Deardurff" userId="a22eae058e899168" providerId="LiveId" clId="{619F0084-81E5-467A-873D-2557E2EA9E67}" dt="2024-01-20T10:33:49.186" v="21" actId="729"/>
        <pc:sldMkLst>
          <pc:docMk/>
          <pc:sldMk cId="2621600474" sldId="534"/>
        </pc:sldMkLst>
      </pc:sldChg>
      <pc:sldChg chg="add del mod modShow">
        <pc:chgData name="John Deardurff" userId="a22eae058e899168" providerId="LiveId" clId="{619F0084-81E5-467A-873D-2557E2EA9E67}" dt="2024-01-20T10:33:49.186" v="21" actId="729"/>
        <pc:sldMkLst>
          <pc:docMk/>
          <pc:sldMk cId="4083746080" sldId="561"/>
        </pc:sldMkLst>
      </pc:sldChg>
      <pc:sldChg chg="modSp mod">
        <pc:chgData name="John Deardurff" userId="a22eae058e899168" providerId="LiveId" clId="{619F0084-81E5-467A-873D-2557E2EA9E67}" dt="2024-01-20T10:31:47.378" v="13" actId="20577"/>
        <pc:sldMkLst>
          <pc:docMk/>
          <pc:sldMk cId="1615560134" sldId="562"/>
        </pc:sldMkLst>
        <pc:spChg chg="mod">
          <ac:chgData name="John Deardurff" userId="a22eae058e899168" providerId="LiveId" clId="{619F0084-81E5-467A-873D-2557E2EA9E67}" dt="2024-01-20T10:31:47.378" v="13" actId="20577"/>
          <ac:spMkLst>
            <pc:docMk/>
            <pc:sldMk cId="1615560134" sldId="562"/>
            <ac:spMk id="3" creationId="{859B2BAE-A383-4E74-B3CF-9AC64DA11727}"/>
          </ac:spMkLst>
        </pc:spChg>
      </pc:sldChg>
      <pc:sldChg chg="del mod modShow">
        <pc:chgData name="John Deardurff" userId="a22eae058e899168" providerId="LiveId" clId="{619F0084-81E5-467A-873D-2557E2EA9E67}" dt="2024-01-20T10:33:29.679" v="18" actId="47"/>
        <pc:sldMkLst>
          <pc:docMk/>
          <pc:sldMk cId="1304421478" sldId="571"/>
        </pc:sldMkLst>
      </pc:sldChg>
      <pc:sldChg chg="del mod modShow">
        <pc:chgData name="John Deardurff" userId="a22eae058e899168" providerId="LiveId" clId="{619F0084-81E5-467A-873D-2557E2EA9E67}" dt="2024-01-20T10:33:29.679" v="18" actId="47"/>
        <pc:sldMkLst>
          <pc:docMk/>
          <pc:sldMk cId="487489740" sldId="572"/>
        </pc:sldMkLst>
      </pc:sldChg>
      <pc:sldChg chg="del mod modShow">
        <pc:chgData name="John Deardurff" userId="a22eae058e899168" providerId="LiveId" clId="{619F0084-81E5-467A-873D-2557E2EA9E67}" dt="2024-01-20T10:33:29.679" v="18" actId="47"/>
        <pc:sldMkLst>
          <pc:docMk/>
          <pc:sldMk cId="35162980" sldId="574"/>
        </pc:sldMkLst>
      </pc:sldChg>
      <pc:sldChg chg="mod modShow">
        <pc:chgData name="John Deardurff" userId="a22eae058e899168" providerId="LiveId" clId="{619F0084-81E5-467A-873D-2557E2EA9E67}" dt="2024-01-20T10:33:49.186" v="21" actId="729"/>
        <pc:sldMkLst>
          <pc:docMk/>
          <pc:sldMk cId="911262124" sldId="575"/>
        </pc:sldMkLst>
      </pc:sldChg>
      <pc:sldChg chg="del mod modShow">
        <pc:chgData name="John Deardurff" userId="a22eae058e899168" providerId="LiveId" clId="{619F0084-81E5-467A-873D-2557E2EA9E67}" dt="2024-01-20T10:33:07.109" v="16" actId="2696"/>
        <pc:sldMkLst>
          <pc:docMk/>
          <pc:sldMk cId="3417226939" sldId="575"/>
        </pc:sldMkLst>
      </pc:sldChg>
      <pc:sldChg chg="mod modShow">
        <pc:chgData name="John Deardurff" userId="a22eae058e899168" providerId="LiveId" clId="{619F0084-81E5-467A-873D-2557E2EA9E67}" dt="2024-01-20T10:33:51.750" v="22" actId="729"/>
        <pc:sldMkLst>
          <pc:docMk/>
          <pc:sldMk cId="1518969536" sldId="576"/>
        </pc:sldMkLst>
      </pc:sldChg>
      <pc:sldChg chg="mod modShow">
        <pc:chgData name="John Deardurff" userId="a22eae058e899168" providerId="LiveId" clId="{619F0084-81E5-467A-873D-2557E2EA9E67}" dt="2024-01-20T10:33:49.186" v="21" actId="729"/>
        <pc:sldMkLst>
          <pc:docMk/>
          <pc:sldMk cId="3459338634" sldId="577"/>
        </pc:sldMkLst>
      </pc:sldChg>
      <pc:sldChg chg="modSp mod">
        <pc:chgData name="John Deardurff" userId="a22eae058e899168" providerId="LiveId" clId="{619F0084-81E5-467A-873D-2557E2EA9E67}" dt="2024-01-20T10:33:57.446" v="24" actId="20577"/>
        <pc:sldMkLst>
          <pc:docMk/>
          <pc:sldMk cId="3265042349" sldId="585"/>
        </pc:sldMkLst>
        <pc:spChg chg="mod">
          <ac:chgData name="John Deardurff" userId="a22eae058e899168" providerId="LiveId" clId="{619F0084-81E5-467A-873D-2557E2EA9E67}" dt="2024-01-20T10:33:57.446" v="24" actId="20577"/>
          <ac:spMkLst>
            <pc:docMk/>
            <pc:sldMk cId="3265042349" sldId="585"/>
            <ac:spMk id="2" creationId="{74CD77A6-E28D-4D8D-9FE5-64ADAA827AC9}"/>
          </ac:spMkLst>
        </pc:spChg>
      </pc:sldChg>
      <pc:sldChg chg="modSp mod">
        <pc:chgData name="John Deardurff" userId="a22eae058e899168" providerId="LiveId" clId="{619F0084-81E5-467A-873D-2557E2EA9E67}" dt="2024-01-20T10:34:56.160" v="30" actId="20577"/>
        <pc:sldMkLst>
          <pc:docMk/>
          <pc:sldMk cId="1945948018" sldId="592"/>
        </pc:sldMkLst>
        <pc:spChg chg="mod">
          <ac:chgData name="John Deardurff" userId="a22eae058e899168" providerId="LiveId" clId="{619F0084-81E5-467A-873D-2557E2EA9E67}" dt="2024-01-20T10:34:56.160" v="30" actId="20577"/>
          <ac:spMkLst>
            <pc:docMk/>
            <pc:sldMk cId="1945948018" sldId="592"/>
            <ac:spMk id="2" creationId="{74CD77A6-E28D-4D8D-9FE5-64ADAA827AC9}"/>
          </ac:spMkLst>
        </pc:spChg>
      </pc:sldChg>
      <pc:sldChg chg="modSp mod">
        <pc:chgData name="John Deardurff" userId="a22eae058e899168" providerId="LiveId" clId="{619F0084-81E5-467A-873D-2557E2EA9E67}" dt="2024-01-20T10:34:36.832" v="27" actId="20577"/>
        <pc:sldMkLst>
          <pc:docMk/>
          <pc:sldMk cId="809679049" sldId="599"/>
        </pc:sldMkLst>
        <pc:spChg chg="mod">
          <ac:chgData name="John Deardurff" userId="a22eae058e899168" providerId="LiveId" clId="{619F0084-81E5-467A-873D-2557E2EA9E67}" dt="2024-01-20T10:34:36.832" v="27" actId="20577"/>
          <ac:spMkLst>
            <pc:docMk/>
            <pc:sldMk cId="809679049" sldId="599"/>
            <ac:spMk id="2" creationId="{74CD77A6-E28D-4D8D-9FE5-64ADAA827AC9}"/>
          </ac:spMkLst>
        </pc:spChg>
      </pc:sldChg>
      <pc:sldChg chg="mod modShow">
        <pc:chgData name="John Deardurff" userId="a22eae058e899168" providerId="LiveId" clId="{619F0084-81E5-467A-873D-2557E2EA9E67}" dt="2024-01-20T10:33:49.186" v="21" actId="729"/>
        <pc:sldMkLst>
          <pc:docMk/>
          <pc:sldMk cId="3621061219" sldId="621"/>
        </pc:sldMkLst>
      </pc:sldChg>
      <pc:sldChg chg="mod modShow">
        <pc:chgData name="John Deardurff" userId="a22eae058e899168" providerId="LiveId" clId="{619F0084-81E5-467A-873D-2557E2EA9E67}" dt="2024-01-20T10:33:49.186" v="21" actId="729"/>
        <pc:sldMkLst>
          <pc:docMk/>
          <pc:sldMk cId="3101561555" sldId="624"/>
        </pc:sldMkLst>
      </pc:sldChg>
      <pc:sldChg chg="del mod modShow">
        <pc:chgData name="John Deardurff" userId="a22eae058e899168" providerId="LiveId" clId="{619F0084-81E5-467A-873D-2557E2EA9E67}" dt="2024-01-20T10:32:07.697" v="14" actId="2696"/>
        <pc:sldMkLst>
          <pc:docMk/>
          <pc:sldMk cId="3398131814" sldId="624"/>
        </pc:sldMkLst>
      </pc:sldChg>
      <pc:sldChg chg="del mod modShow">
        <pc:chgData name="John Deardurff" userId="a22eae058e899168" providerId="LiveId" clId="{619F0084-81E5-467A-873D-2557E2EA9E67}" dt="2024-01-20T10:33:29.679" v="18" actId="47"/>
        <pc:sldMkLst>
          <pc:docMk/>
          <pc:sldMk cId="2462752824" sldId="625"/>
        </pc:sldMkLst>
      </pc:sldChg>
      <pc:sldChg chg="del mod modShow">
        <pc:chgData name="John Deardurff" userId="a22eae058e899168" providerId="LiveId" clId="{619F0084-81E5-467A-873D-2557E2EA9E67}" dt="2024-01-20T10:33:29.679" v="18" actId="47"/>
        <pc:sldMkLst>
          <pc:docMk/>
          <pc:sldMk cId="2426240380" sldId="626"/>
        </pc:sldMkLst>
      </pc:sldChg>
      <pc:sldChg chg="del mod modShow">
        <pc:chgData name="John Deardurff" userId="a22eae058e899168" providerId="LiveId" clId="{619F0084-81E5-467A-873D-2557E2EA9E67}" dt="2024-01-20T10:33:29.679" v="18" actId="47"/>
        <pc:sldMkLst>
          <pc:docMk/>
          <pc:sldMk cId="1692636584" sldId="627"/>
        </pc:sldMkLst>
      </pc:sldChg>
      <pc:sldChg chg="del mod modShow">
        <pc:chgData name="John Deardurff" userId="a22eae058e899168" providerId="LiveId" clId="{619F0084-81E5-467A-873D-2557E2EA9E67}" dt="2024-01-20T10:33:29.679" v="18" actId="47"/>
        <pc:sldMkLst>
          <pc:docMk/>
          <pc:sldMk cId="1731403797" sldId="628"/>
        </pc:sldMkLst>
      </pc:sldChg>
      <pc:sldChg chg="mod modShow">
        <pc:chgData name="John Deardurff" userId="a22eae058e899168" providerId="LiveId" clId="{619F0084-81E5-467A-873D-2557E2EA9E67}" dt="2024-01-20T10:33:49.186" v="21" actId="729"/>
        <pc:sldMkLst>
          <pc:docMk/>
          <pc:sldMk cId="653830727" sldId="650"/>
        </pc:sldMkLst>
      </pc:sldChg>
      <pc:sldChg chg="mod modShow">
        <pc:chgData name="John Deardurff" userId="a22eae058e899168" providerId="LiveId" clId="{619F0084-81E5-467A-873D-2557E2EA9E67}" dt="2024-01-20T10:33:49.186" v="21" actId="729"/>
        <pc:sldMkLst>
          <pc:docMk/>
          <pc:sldMk cId="939928185" sldId="652"/>
        </pc:sldMkLst>
      </pc:sldChg>
      <pc:sldChg chg="mod modShow">
        <pc:chgData name="John Deardurff" userId="a22eae058e899168" providerId="LiveId" clId="{619F0084-81E5-467A-873D-2557E2EA9E67}" dt="2024-01-20T10:33:49.186" v="21" actId="729"/>
        <pc:sldMkLst>
          <pc:docMk/>
          <pc:sldMk cId="2155057141" sldId="653"/>
        </pc:sldMkLst>
      </pc:sldChg>
      <pc:sldChg chg="ord">
        <pc:chgData name="John Deardurff" userId="a22eae058e899168" providerId="LiveId" clId="{619F0084-81E5-467A-873D-2557E2EA9E67}" dt="2024-01-31T08:06:25.483" v="42"/>
        <pc:sldMkLst>
          <pc:docMk/>
          <pc:sldMk cId="3967432046" sldId="701"/>
        </pc:sldMkLst>
      </pc:sldChg>
      <pc:sldChg chg="del">
        <pc:chgData name="John Deardurff" userId="a22eae058e899168" providerId="LiveId" clId="{619F0084-81E5-467A-873D-2557E2EA9E67}" dt="2024-01-20T10:29:24.917" v="0" actId="47"/>
        <pc:sldMkLst>
          <pc:docMk/>
          <pc:sldMk cId="3409828776" sldId="754"/>
        </pc:sldMkLst>
      </pc:sldChg>
      <pc:sldChg chg="del">
        <pc:chgData name="John Deardurff" userId="a22eae058e899168" providerId="LiveId" clId="{619F0084-81E5-467A-873D-2557E2EA9E67}" dt="2024-01-20T10:29:26.134" v="1" actId="47"/>
        <pc:sldMkLst>
          <pc:docMk/>
          <pc:sldMk cId="2763251739" sldId="755"/>
        </pc:sldMkLst>
      </pc:sldChg>
      <pc:sldChg chg="del">
        <pc:chgData name="John Deardurff" userId="a22eae058e899168" providerId="LiveId" clId="{619F0084-81E5-467A-873D-2557E2EA9E67}" dt="2024-01-20T10:29:26.845" v="2" actId="47"/>
        <pc:sldMkLst>
          <pc:docMk/>
          <pc:sldMk cId="2314190183" sldId="757"/>
        </pc:sldMkLst>
      </pc:sldChg>
      <pc:sldChg chg="del">
        <pc:chgData name="John Deardurff" userId="a22eae058e899168" providerId="LiveId" clId="{619F0084-81E5-467A-873D-2557E2EA9E67}" dt="2024-01-20T10:33:29.679" v="18" actId="47"/>
        <pc:sldMkLst>
          <pc:docMk/>
          <pc:sldMk cId="2781898712" sldId="777"/>
        </pc:sldMkLst>
      </pc:sldChg>
      <pc:sldChg chg="del">
        <pc:chgData name="John Deardurff" userId="a22eae058e899168" providerId="LiveId" clId="{619F0084-81E5-467A-873D-2557E2EA9E67}" dt="2024-01-20T10:33:29.679" v="18" actId="47"/>
        <pc:sldMkLst>
          <pc:docMk/>
          <pc:sldMk cId="4196614438" sldId="778"/>
        </pc:sldMkLst>
      </pc:sldChg>
      <pc:sldChg chg="del">
        <pc:chgData name="John Deardurff" userId="a22eae058e899168" providerId="LiveId" clId="{619F0084-81E5-467A-873D-2557E2EA9E67}" dt="2024-01-20T10:33:29.679" v="18" actId="47"/>
        <pc:sldMkLst>
          <pc:docMk/>
          <pc:sldMk cId="2420185952" sldId="779"/>
        </pc:sldMkLst>
      </pc:sldChg>
      <pc:sldChg chg="del">
        <pc:chgData name="John Deardurff" userId="a22eae058e899168" providerId="LiveId" clId="{619F0084-81E5-467A-873D-2557E2EA9E67}" dt="2024-01-20T10:33:29.679" v="18" actId="47"/>
        <pc:sldMkLst>
          <pc:docMk/>
          <pc:sldMk cId="2203372711" sldId="780"/>
        </pc:sldMkLst>
      </pc:sldChg>
      <pc:sldChg chg="del">
        <pc:chgData name="John Deardurff" userId="a22eae058e899168" providerId="LiveId" clId="{619F0084-81E5-467A-873D-2557E2EA9E67}" dt="2024-01-20T10:33:29.679" v="18" actId="47"/>
        <pc:sldMkLst>
          <pc:docMk/>
          <pc:sldMk cId="258955810" sldId="781"/>
        </pc:sldMkLst>
      </pc:sldChg>
      <pc:sldChg chg="mod modShow">
        <pc:chgData name="John Deardurff" userId="a22eae058e899168" providerId="LiveId" clId="{619F0084-81E5-467A-873D-2557E2EA9E67}" dt="2024-01-20T10:33:49.186" v="21" actId="729"/>
        <pc:sldMkLst>
          <pc:docMk/>
          <pc:sldMk cId="2981336413" sldId="1504"/>
        </pc:sldMkLst>
      </pc:sldChg>
      <pc:sldChg chg="mod modShow">
        <pc:chgData name="John Deardurff" userId="a22eae058e899168" providerId="LiveId" clId="{619F0084-81E5-467A-873D-2557E2EA9E67}" dt="2024-01-20T10:33:49.186" v="21" actId="729"/>
        <pc:sldMkLst>
          <pc:docMk/>
          <pc:sldMk cId="4174331227" sldId="1506"/>
        </pc:sldMkLst>
      </pc:sldChg>
      <pc:sldChg chg="mod modShow">
        <pc:chgData name="John Deardurff" userId="a22eae058e899168" providerId="LiveId" clId="{619F0084-81E5-467A-873D-2557E2EA9E67}" dt="2024-01-20T10:33:49.186" v="21" actId="729"/>
        <pc:sldMkLst>
          <pc:docMk/>
          <pc:sldMk cId="3718892951" sldId="1512"/>
        </pc:sldMkLst>
      </pc:sldChg>
      <pc:sldChg chg="modSp">
        <pc:chgData name="John Deardurff" userId="a22eae058e899168" providerId="LiveId" clId="{619F0084-81E5-467A-873D-2557E2EA9E67}" dt="2024-01-31T08:05:07.729" v="40" actId="20577"/>
        <pc:sldMkLst>
          <pc:docMk/>
          <pc:sldMk cId="3177623415" sldId="1562"/>
        </pc:sldMkLst>
        <pc:graphicFrameChg chg="mod">
          <ac:chgData name="John Deardurff" userId="a22eae058e899168" providerId="LiveId" clId="{619F0084-81E5-467A-873D-2557E2EA9E67}" dt="2024-01-31T08:05:07.729" v="40" actId="20577"/>
          <ac:graphicFrameMkLst>
            <pc:docMk/>
            <pc:sldMk cId="3177623415" sldId="1562"/>
            <ac:graphicFrameMk id="4" creationId="{A4003F08-C0DD-4678-9370-E4CC7A8401CE}"/>
          </ac:graphicFrameMkLst>
        </pc:graphicFrameChg>
      </pc:sldChg>
      <pc:sldChg chg="mod modShow">
        <pc:chgData name="John Deardurff" userId="a22eae058e899168" providerId="LiveId" clId="{619F0084-81E5-467A-873D-2557E2EA9E67}" dt="2024-01-20T10:33:49.186" v="21" actId="729"/>
        <pc:sldMkLst>
          <pc:docMk/>
          <pc:sldMk cId="3847623131" sldId="1563"/>
        </pc:sldMkLst>
      </pc:sldChg>
      <pc:sldChg chg="mod modShow">
        <pc:chgData name="John Deardurff" userId="a22eae058e899168" providerId="LiveId" clId="{619F0084-81E5-467A-873D-2557E2EA9E67}" dt="2024-01-20T10:33:49.186" v="21" actId="729"/>
        <pc:sldMkLst>
          <pc:docMk/>
          <pc:sldMk cId="2270045660" sldId="1566"/>
        </pc:sldMkLst>
      </pc:sldChg>
      <pc:sldChg chg="mod modShow">
        <pc:chgData name="John Deardurff" userId="a22eae058e899168" providerId="LiveId" clId="{619F0084-81E5-467A-873D-2557E2EA9E67}" dt="2024-01-20T10:33:49.186" v="21" actId="729"/>
        <pc:sldMkLst>
          <pc:docMk/>
          <pc:sldMk cId="1571936917" sldId="1567"/>
        </pc:sldMkLst>
      </pc:sldChg>
      <pc:sldChg chg="modSp mod">
        <pc:chgData name="John Deardurff" userId="a22eae058e899168" providerId="LiveId" clId="{619F0084-81E5-467A-873D-2557E2EA9E67}" dt="2024-01-30T18:10:29.061" v="34" actId="1076"/>
        <pc:sldMkLst>
          <pc:docMk/>
          <pc:sldMk cId="3279632593" sldId="1571"/>
        </pc:sldMkLst>
        <pc:graphicFrameChg chg="mod">
          <ac:chgData name="John Deardurff" userId="a22eae058e899168" providerId="LiveId" clId="{619F0084-81E5-467A-873D-2557E2EA9E67}" dt="2024-01-30T18:10:29.061" v="34" actId="1076"/>
          <ac:graphicFrameMkLst>
            <pc:docMk/>
            <pc:sldMk cId="3279632593" sldId="1571"/>
            <ac:graphicFrameMk id="6" creationId="{C3B01580-9A0F-4A26-9DD9-8F1D2DFA6B4E}"/>
          </ac:graphicFrameMkLst>
        </pc:graphicFrameChg>
      </pc:sldChg>
      <pc:sldChg chg="mod modShow">
        <pc:chgData name="John Deardurff" userId="a22eae058e899168" providerId="LiveId" clId="{619F0084-81E5-467A-873D-2557E2EA9E67}" dt="2024-01-20T10:33:49.186" v="21" actId="729"/>
        <pc:sldMkLst>
          <pc:docMk/>
          <pc:sldMk cId="1801915945" sldId="1573"/>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9D93E8-E5D7-4F8E-99CB-D9A6C541554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F9EF8A99-18FC-4CCB-9181-4D44D379DC87}">
      <dgm:prSet/>
      <dgm:spPr/>
      <dgm:t>
        <a:bodyPr/>
        <a:lstStyle/>
        <a:p>
          <a:r>
            <a:rPr lang="en-US" baseline="0" dirty="0"/>
            <a:t>A data page is the fundamental unit of data storage in SQL Server.</a:t>
          </a:r>
          <a:endParaRPr lang="en-US" dirty="0"/>
        </a:p>
      </dgm:t>
    </dgm:pt>
    <dgm:pt modelId="{14BD4039-EEF0-4D85-AB36-01F9540BA69A}" type="parTrans" cxnId="{4D1AF5AC-24AE-44C8-93D5-E50D164D1B30}">
      <dgm:prSet/>
      <dgm:spPr/>
      <dgm:t>
        <a:bodyPr/>
        <a:lstStyle/>
        <a:p>
          <a:endParaRPr lang="en-US"/>
        </a:p>
      </dgm:t>
    </dgm:pt>
    <dgm:pt modelId="{ABD79CF5-4008-495C-8CAA-22736D2574A4}" type="sibTrans" cxnId="{4D1AF5AC-24AE-44C8-93D5-E50D164D1B30}">
      <dgm:prSet/>
      <dgm:spPr/>
      <dgm:t>
        <a:bodyPr/>
        <a:lstStyle/>
        <a:p>
          <a:endParaRPr lang="en-US"/>
        </a:p>
      </dgm:t>
    </dgm:pt>
    <dgm:pt modelId="{DEF4B9F8-4D87-428D-8AF0-6A8365B1B7FD}">
      <dgm:prSet/>
      <dgm:spPr/>
      <dgm:t>
        <a:bodyPr/>
        <a:lstStyle/>
        <a:p>
          <a:r>
            <a:rPr lang="en-US" baseline="0"/>
            <a:t>The disk space allocated to a data file (.mdf or .ndf) is logically divided into pages.</a:t>
          </a:r>
          <a:endParaRPr lang="en-US"/>
        </a:p>
      </dgm:t>
    </dgm:pt>
    <dgm:pt modelId="{640ECEFD-6503-4F20-8220-D1A9F695AE7A}" type="parTrans" cxnId="{575923CF-9BFD-4DE8-BC0C-C901E9B493CC}">
      <dgm:prSet/>
      <dgm:spPr/>
      <dgm:t>
        <a:bodyPr/>
        <a:lstStyle/>
        <a:p>
          <a:endParaRPr lang="en-US"/>
        </a:p>
      </dgm:t>
    </dgm:pt>
    <dgm:pt modelId="{C68A7289-EBCC-4F60-8980-A6750656FE11}" type="sibTrans" cxnId="{575923CF-9BFD-4DE8-BC0C-C901E9B493CC}">
      <dgm:prSet/>
      <dgm:spPr/>
      <dgm:t>
        <a:bodyPr/>
        <a:lstStyle/>
        <a:p>
          <a:endParaRPr lang="en-US"/>
        </a:p>
      </dgm:t>
    </dgm:pt>
    <dgm:pt modelId="{3F544BC3-618C-4131-8BD9-F8B7F5BE517A}">
      <dgm:prSet/>
      <dgm:spPr/>
      <dgm:t>
        <a:bodyPr/>
        <a:lstStyle/>
        <a:p>
          <a:r>
            <a:rPr lang="en-US" baseline="0"/>
            <a:t>Each page is 8 KB in size</a:t>
          </a:r>
          <a:endParaRPr lang="en-US"/>
        </a:p>
      </dgm:t>
    </dgm:pt>
    <dgm:pt modelId="{A8A24A74-0635-48C5-845D-4D3067374116}" type="parTrans" cxnId="{569D8073-6E48-45E1-A62D-A6AE389FEFFD}">
      <dgm:prSet/>
      <dgm:spPr/>
      <dgm:t>
        <a:bodyPr/>
        <a:lstStyle/>
        <a:p>
          <a:endParaRPr lang="en-US"/>
        </a:p>
      </dgm:t>
    </dgm:pt>
    <dgm:pt modelId="{AF328828-6E0F-4520-B74A-6DC9213BC8E8}" type="sibTrans" cxnId="{569D8073-6E48-45E1-A62D-A6AE389FEFFD}">
      <dgm:prSet/>
      <dgm:spPr/>
      <dgm:t>
        <a:bodyPr/>
        <a:lstStyle/>
        <a:p>
          <a:endParaRPr lang="en-US"/>
        </a:p>
      </dgm:t>
    </dgm:pt>
    <dgm:pt modelId="{AEE3908D-BB68-4C20-BCC0-1357C6F4AB3C}">
      <dgm:prSet/>
      <dgm:spPr/>
      <dgm:t>
        <a:bodyPr/>
        <a:lstStyle/>
        <a:p>
          <a:r>
            <a:rPr lang="en-US" baseline="0"/>
            <a:t>Pages are numbered contiguously from 0 to n. </a:t>
          </a:r>
          <a:endParaRPr lang="en-US"/>
        </a:p>
      </dgm:t>
    </dgm:pt>
    <dgm:pt modelId="{DA56CE51-55F0-4766-B3F6-E44295E4571D}" type="parTrans" cxnId="{1D413A74-A4A4-482A-988A-C76B027D936C}">
      <dgm:prSet/>
      <dgm:spPr/>
      <dgm:t>
        <a:bodyPr/>
        <a:lstStyle/>
        <a:p>
          <a:endParaRPr lang="en-US"/>
        </a:p>
      </dgm:t>
    </dgm:pt>
    <dgm:pt modelId="{FDEB6DB6-70AB-4BF2-A551-18A7451FC132}" type="sibTrans" cxnId="{1D413A74-A4A4-482A-988A-C76B027D936C}">
      <dgm:prSet/>
      <dgm:spPr/>
      <dgm:t>
        <a:bodyPr/>
        <a:lstStyle/>
        <a:p>
          <a:endParaRPr lang="en-US"/>
        </a:p>
      </dgm:t>
    </dgm:pt>
    <dgm:pt modelId="{6F00449F-1269-4D42-8F1D-9AB12C705CD2}">
      <dgm:prSet/>
      <dgm:spPr/>
      <dgm:t>
        <a:bodyPr/>
        <a:lstStyle/>
        <a:p>
          <a:r>
            <a:rPr lang="en-US" baseline="0"/>
            <a:t>Disk I/O operations are performed at the page level.</a:t>
          </a:r>
          <a:endParaRPr lang="en-US"/>
        </a:p>
      </dgm:t>
    </dgm:pt>
    <dgm:pt modelId="{687EFFB1-887A-4D9D-ABD5-AD50097D96DA}" type="parTrans" cxnId="{61B66761-1F3E-4F8A-86D9-E1087D477129}">
      <dgm:prSet/>
      <dgm:spPr/>
      <dgm:t>
        <a:bodyPr/>
        <a:lstStyle/>
        <a:p>
          <a:endParaRPr lang="en-US"/>
        </a:p>
      </dgm:t>
    </dgm:pt>
    <dgm:pt modelId="{ED7C89E6-CEC2-4368-AF72-4B0CBA0D5AB1}" type="sibTrans" cxnId="{61B66761-1F3E-4F8A-86D9-E1087D477129}">
      <dgm:prSet/>
      <dgm:spPr/>
      <dgm:t>
        <a:bodyPr/>
        <a:lstStyle/>
        <a:p>
          <a:endParaRPr lang="en-US"/>
        </a:p>
      </dgm:t>
    </dgm:pt>
    <dgm:pt modelId="{AC6FB9C3-0730-4BE1-9122-564D8A8F26F6}">
      <dgm:prSet/>
      <dgm:spPr/>
      <dgm:t>
        <a:bodyPr/>
        <a:lstStyle/>
        <a:p>
          <a:r>
            <a:rPr lang="en-US" baseline="0" dirty="0"/>
            <a:t>Extents are a collection of eight physically contiguous pages (64KB) and are used to efficiently manage the pages. </a:t>
          </a:r>
          <a:endParaRPr lang="en-US" dirty="0"/>
        </a:p>
      </dgm:t>
    </dgm:pt>
    <dgm:pt modelId="{89CC61C0-4FDD-4C52-B1A3-4476FBBC917C}" type="parTrans" cxnId="{F73D015C-79D6-44D5-A041-06D0B928C26A}">
      <dgm:prSet/>
      <dgm:spPr/>
      <dgm:t>
        <a:bodyPr/>
        <a:lstStyle/>
        <a:p>
          <a:endParaRPr lang="en-US"/>
        </a:p>
      </dgm:t>
    </dgm:pt>
    <dgm:pt modelId="{FE09AC67-92B6-4C7A-8EF7-359B708C9C83}" type="sibTrans" cxnId="{F73D015C-79D6-44D5-A041-06D0B928C26A}">
      <dgm:prSet/>
      <dgm:spPr/>
      <dgm:t>
        <a:bodyPr/>
        <a:lstStyle/>
        <a:p>
          <a:endParaRPr lang="en-US"/>
        </a:p>
      </dgm:t>
    </dgm:pt>
    <dgm:pt modelId="{6B415267-0143-4FEC-8599-4EFD74853C0B}" type="pres">
      <dgm:prSet presAssocID="{329D93E8-E5D7-4F8E-99CB-D9A6C5415546}" presName="linear" presStyleCnt="0">
        <dgm:presLayoutVars>
          <dgm:animLvl val="lvl"/>
          <dgm:resizeHandles val="exact"/>
        </dgm:presLayoutVars>
      </dgm:prSet>
      <dgm:spPr/>
    </dgm:pt>
    <dgm:pt modelId="{DC818F98-D77E-404D-8396-2CD567FBCDCB}" type="pres">
      <dgm:prSet presAssocID="{F9EF8A99-18FC-4CCB-9181-4D44D379DC87}" presName="parentText" presStyleLbl="node1" presStyleIdx="0" presStyleCnt="2">
        <dgm:presLayoutVars>
          <dgm:chMax val="0"/>
          <dgm:bulletEnabled val="1"/>
        </dgm:presLayoutVars>
      </dgm:prSet>
      <dgm:spPr/>
    </dgm:pt>
    <dgm:pt modelId="{4E07E69E-F0D7-4C1A-ABB4-C91FBDE32562}" type="pres">
      <dgm:prSet presAssocID="{F9EF8A99-18FC-4CCB-9181-4D44D379DC87}" presName="childText" presStyleLbl="revTx" presStyleIdx="0" presStyleCnt="1">
        <dgm:presLayoutVars>
          <dgm:bulletEnabled val="1"/>
        </dgm:presLayoutVars>
      </dgm:prSet>
      <dgm:spPr/>
    </dgm:pt>
    <dgm:pt modelId="{1B848AEE-BC85-4AA9-8DEF-430F253DFCD7}" type="pres">
      <dgm:prSet presAssocID="{AC6FB9C3-0730-4BE1-9122-564D8A8F26F6}" presName="parentText" presStyleLbl="node1" presStyleIdx="1" presStyleCnt="2">
        <dgm:presLayoutVars>
          <dgm:chMax val="0"/>
          <dgm:bulletEnabled val="1"/>
        </dgm:presLayoutVars>
      </dgm:prSet>
      <dgm:spPr/>
    </dgm:pt>
  </dgm:ptLst>
  <dgm:cxnLst>
    <dgm:cxn modelId="{F73D015C-79D6-44D5-A041-06D0B928C26A}" srcId="{329D93E8-E5D7-4F8E-99CB-D9A6C5415546}" destId="{AC6FB9C3-0730-4BE1-9122-564D8A8F26F6}" srcOrd="1" destOrd="0" parTransId="{89CC61C0-4FDD-4C52-B1A3-4476FBBC917C}" sibTransId="{FE09AC67-92B6-4C7A-8EF7-359B708C9C83}"/>
    <dgm:cxn modelId="{61B66761-1F3E-4F8A-86D9-E1087D477129}" srcId="{F9EF8A99-18FC-4CCB-9181-4D44D379DC87}" destId="{6F00449F-1269-4D42-8F1D-9AB12C705CD2}" srcOrd="3" destOrd="0" parTransId="{687EFFB1-887A-4D9D-ABD5-AD50097D96DA}" sibTransId="{ED7C89E6-CEC2-4368-AF72-4B0CBA0D5AB1}"/>
    <dgm:cxn modelId="{AE8E8A69-3C67-44C7-9FCB-CCEA010DDA03}" type="presOf" srcId="{329D93E8-E5D7-4F8E-99CB-D9A6C5415546}" destId="{6B415267-0143-4FEC-8599-4EFD74853C0B}" srcOrd="0" destOrd="0" presId="urn:microsoft.com/office/officeart/2005/8/layout/vList2"/>
    <dgm:cxn modelId="{569D8073-6E48-45E1-A62D-A6AE389FEFFD}" srcId="{F9EF8A99-18FC-4CCB-9181-4D44D379DC87}" destId="{3F544BC3-618C-4131-8BD9-F8B7F5BE517A}" srcOrd="1" destOrd="0" parTransId="{A8A24A74-0635-48C5-845D-4D3067374116}" sibTransId="{AF328828-6E0F-4520-B74A-6DC9213BC8E8}"/>
    <dgm:cxn modelId="{1D413A74-A4A4-482A-988A-C76B027D936C}" srcId="{F9EF8A99-18FC-4CCB-9181-4D44D379DC87}" destId="{AEE3908D-BB68-4C20-BCC0-1357C6F4AB3C}" srcOrd="2" destOrd="0" parTransId="{DA56CE51-55F0-4766-B3F6-E44295E4571D}" sibTransId="{FDEB6DB6-70AB-4BF2-A551-18A7451FC132}"/>
    <dgm:cxn modelId="{5B788854-0343-4E52-9732-76BFB671E4C6}" type="presOf" srcId="{DEF4B9F8-4D87-428D-8AF0-6A8365B1B7FD}" destId="{4E07E69E-F0D7-4C1A-ABB4-C91FBDE32562}" srcOrd="0" destOrd="0" presId="urn:microsoft.com/office/officeart/2005/8/layout/vList2"/>
    <dgm:cxn modelId="{373CDA75-303B-4B4D-B00D-0C5A8A2DBF84}" type="presOf" srcId="{F9EF8A99-18FC-4CCB-9181-4D44D379DC87}" destId="{DC818F98-D77E-404D-8396-2CD567FBCDCB}" srcOrd="0" destOrd="0" presId="urn:microsoft.com/office/officeart/2005/8/layout/vList2"/>
    <dgm:cxn modelId="{30AFD080-A24B-48B4-830F-A033BCD05441}" type="presOf" srcId="{6F00449F-1269-4D42-8F1D-9AB12C705CD2}" destId="{4E07E69E-F0D7-4C1A-ABB4-C91FBDE32562}" srcOrd="0" destOrd="3" presId="urn:microsoft.com/office/officeart/2005/8/layout/vList2"/>
    <dgm:cxn modelId="{4D1AF5AC-24AE-44C8-93D5-E50D164D1B30}" srcId="{329D93E8-E5D7-4F8E-99CB-D9A6C5415546}" destId="{F9EF8A99-18FC-4CCB-9181-4D44D379DC87}" srcOrd="0" destOrd="0" parTransId="{14BD4039-EEF0-4D85-AB36-01F9540BA69A}" sibTransId="{ABD79CF5-4008-495C-8CAA-22736D2574A4}"/>
    <dgm:cxn modelId="{FC9D1EC6-0E6B-48C2-8B54-D518B1E76FB6}" type="presOf" srcId="{3F544BC3-618C-4131-8BD9-F8B7F5BE517A}" destId="{4E07E69E-F0D7-4C1A-ABB4-C91FBDE32562}" srcOrd="0" destOrd="1" presId="urn:microsoft.com/office/officeart/2005/8/layout/vList2"/>
    <dgm:cxn modelId="{575923CF-9BFD-4DE8-BC0C-C901E9B493CC}" srcId="{F9EF8A99-18FC-4CCB-9181-4D44D379DC87}" destId="{DEF4B9F8-4D87-428D-8AF0-6A8365B1B7FD}" srcOrd="0" destOrd="0" parTransId="{640ECEFD-6503-4F20-8220-D1A9F695AE7A}" sibTransId="{C68A7289-EBCC-4F60-8980-A6750656FE11}"/>
    <dgm:cxn modelId="{064F09DF-667F-4371-B281-A0E4572F682D}" type="presOf" srcId="{AEE3908D-BB68-4C20-BCC0-1357C6F4AB3C}" destId="{4E07E69E-F0D7-4C1A-ABB4-C91FBDE32562}" srcOrd="0" destOrd="2" presId="urn:microsoft.com/office/officeart/2005/8/layout/vList2"/>
    <dgm:cxn modelId="{FAFC20F3-C4D7-46D3-80A5-A869B9CCE490}" type="presOf" srcId="{AC6FB9C3-0730-4BE1-9122-564D8A8F26F6}" destId="{1B848AEE-BC85-4AA9-8DEF-430F253DFCD7}" srcOrd="0" destOrd="0" presId="urn:microsoft.com/office/officeart/2005/8/layout/vList2"/>
    <dgm:cxn modelId="{0C98E095-F182-4B35-B8AD-3C3FB3FB847C}" type="presParOf" srcId="{6B415267-0143-4FEC-8599-4EFD74853C0B}" destId="{DC818F98-D77E-404D-8396-2CD567FBCDCB}" srcOrd="0" destOrd="0" presId="urn:microsoft.com/office/officeart/2005/8/layout/vList2"/>
    <dgm:cxn modelId="{6A204B4B-C035-46B7-843A-A29FAC1CE423}" type="presParOf" srcId="{6B415267-0143-4FEC-8599-4EFD74853C0B}" destId="{4E07E69E-F0D7-4C1A-ABB4-C91FBDE32562}" srcOrd="1" destOrd="0" presId="urn:microsoft.com/office/officeart/2005/8/layout/vList2"/>
    <dgm:cxn modelId="{4998B517-ADC3-4BF3-971D-87DB6C9A4232}" type="presParOf" srcId="{6B415267-0143-4FEC-8599-4EFD74853C0B}" destId="{1B848AEE-BC85-4AA9-8DEF-430F253DFCD7}"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A76FF16-3CDD-45E1-8DF8-C4BAB716911A}"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8331A5FE-0937-42BB-851A-E401D04790A0}">
      <dgm:prSet/>
      <dgm:spPr/>
      <dgm:t>
        <a:bodyPr/>
        <a:lstStyle/>
        <a:p>
          <a:r>
            <a:rPr lang="en-US" b="1" dirty="0"/>
            <a:t>Automatic</a:t>
          </a:r>
          <a:r>
            <a:rPr lang="en-US" dirty="0"/>
            <a:t> (default) – Database engine issues checkpoints automatically based on the server level “recovery interval” configuration option</a:t>
          </a:r>
        </a:p>
      </dgm:t>
    </dgm:pt>
    <dgm:pt modelId="{7F8F6BC6-D92A-4837-9A29-D783F2B70E20}" type="parTrans" cxnId="{0463552D-DF9C-439B-9B12-2AF5F55222A0}">
      <dgm:prSet/>
      <dgm:spPr/>
      <dgm:t>
        <a:bodyPr/>
        <a:lstStyle/>
        <a:p>
          <a:endParaRPr lang="en-US"/>
        </a:p>
      </dgm:t>
    </dgm:pt>
    <dgm:pt modelId="{76E07976-7831-4731-929D-024828E83D62}" type="sibTrans" cxnId="{0463552D-DF9C-439B-9B12-2AF5F55222A0}">
      <dgm:prSet/>
      <dgm:spPr/>
      <dgm:t>
        <a:bodyPr/>
        <a:lstStyle/>
        <a:p>
          <a:endParaRPr lang="en-US"/>
        </a:p>
      </dgm:t>
    </dgm:pt>
    <dgm:pt modelId="{07068F90-6DC6-4275-86B5-AD0B1F2F97CD}">
      <dgm:prSet/>
      <dgm:spPr/>
      <dgm:t>
        <a:bodyPr/>
        <a:lstStyle/>
        <a:p>
          <a:r>
            <a:rPr lang="en-US" b="1" dirty="0"/>
            <a:t>Indirect</a:t>
          </a:r>
          <a:r>
            <a:rPr lang="en-US" dirty="0"/>
            <a:t> (new in SQL Server 2012) – Database engine issues checkpoints automatically based on the database level TARGET_RECOVERY_TIME</a:t>
          </a:r>
        </a:p>
      </dgm:t>
    </dgm:pt>
    <dgm:pt modelId="{8C6C121B-8B4B-4819-92A2-26BC2F527871}" type="parTrans" cxnId="{84E0CB70-D351-414D-9723-98EA6DA6A624}">
      <dgm:prSet/>
      <dgm:spPr/>
      <dgm:t>
        <a:bodyPr/>
        <a:lstStyle/>
        <a:p>
          <a:endParaRPr lang="en-US"/>
        </a:p>
      </dgm:t>
    </dgm:pt>
    <dgm:pt modelId="{BC7406FE-8270-4AA2-83FF-523B07F1DBCC}" type="sibTrans" cxnId="{84E0CB70-D351-414D-9723-98EA6DA6A624}">
      <dgm:prSet/>
      <dgm:spPr/>
      <dgm:t>
        <a:bodyPr/>
        <a:lstStyle/>
        <a:p>
          <a:endParaRPr lang="en-US"/>
        </a:p>
      </dgm:t>
    </dgm:pt>
    <dgm:pt modelId="{84972595-1857-402E-BD44-B8C9E1048B0D}">
      <dgm:prSet/>
      <dgm:spPr/>
      <dgm:t>
        <a:bodyPr/>
        <a:lstStyle/>
        <a:p>
          <a:r>
            <a:rPr lang="en-US" b="1" dirty="0"/>
            <a:t>Manual</a:t>
          </a:r>
          <a:r>
            <a:rPr lang="en-US" dirty="0"/>
            <a:t> – Issued in the current database for your connection when you execute the T-SQL CHECKPOINT command</a:t>
          </a:r>
        </a:p>
      </dgm:t>
    </dgm:pt>
    <dgm:pt modelId="{6083E805-0CEA-4EE2-88FA-A1DA7D185C48}" type="parTrans" cxnId="{AE153EBE-1E72-439D-AC89-BB092D822061}">
      <dgm:prSet/>
      <dgm:spPr/>
      <dgm:t>
        <a:bodyPr/>
        <a:lstStyle/>
        <a:p>
          <a:endParaRPr lang="en-US"/>
        </a:p>
      </dgm:t>
    </dgm:pt>
    <dgm:pt modelId="{DC09C0A9-E77E-40EF-9573-05045BBBDB52}" type="sibTrans" cxnId="{AE153EBE-1E72-439D-AC89-BB092D822061}">
      <dgm:prSet/>
      <dgm:spPr/>
      <dgm:t>
        <a:bodyPr/>
        <a:lstStyle/>
        <a:p>
          <a:endParaRPr lang="en-US"/>
        </a:p>
      </dgm:t>
    </dgm:pt>
    <dgm:pt modelId="{DAE9F991-6572-4F64-B7F1-F31BB10A008E}">
      <dgm:prSet/>
      <dgm:spPr/>
      <dgm:t>
        <a:bodyPr/>
        <a:lstStyle/>
        <a:p>
          <a:r>
            <a:rPr lang="en-US" b="1" dirty="0"/>
            <a:t>Internal</a:t>
          </a:r>
          <a:r>
            <a:rPr lang="en-US" dirty="0"/>
            <a:t> – Issued by various server operations</a:t>
          </a:r>
        </a:p>
      </dgm:t>
    </dgm:pt>
    <dgm:pt modelId="{C169FDEF-938C-43DE-82A2-485D02FCE2B2}" type="parTrans" cxnId="{B2CAB1F5-8DA5-42C9-8F63-033F9BDB1CCD}">
      <dgm:prSet/>
      <dgm:spPr/>
      <dgm:t>
        <a:bodyPr/>
        <a:lstStyle/>
        <a:p>
          <a:endParaRPr lang="en-US"/>
        </a:p>
      </dgm:t>
    </dgm:pt>
    <dgm:pt modelId="{8DC1791F-043B-4AF5-A2E2-460168006F09}" type="sibTrans" cxnId="{B2CAB1F5-8DA5-42C9-8F63-033F9BDB1CCD}">
      <dgm:prSet/>
      <dgm:spPr/>
      <dgm:t>
        <a:bodyPr/>
        <a:lstStyle/>
        <a:p>
          <a:endParaRPr lang="en-US"/>
        </a:p>
      </dgm:t>
    </dgm:pt>
    <dgm:pt modelId="{392FA100-3E91-4BDC-A0DF-3845E8635450}">
      <dgm:prSet/>
      <dgm:spPr/>
      <dgm:t>
        <a:bodyPr/>
        <a:lstStyle/>
        <a:p>
          <a:endParaRPr lang="en-US" dirty="0"/>
        </a:p>
      </dgm:t>
    </dgm:pt>
    <dgm:pt modelId="{EC22291B-37D6-41CE-9AE5-D5F85AF5A51D}" type="parTrans" cxnId="{87EC574C-C0B4-464C-8921-363C31C64BB7}">
      <dgm:prSet/>
      <dgm:spPr/>
      <dgm:t>
        <a:bodyPr/>
        <a:lstStyle/>
        <a:p>
          <a:endParaRPr lang="en-US"/>
        </a:p>
      </dgm:t>
    </dgm:pt>
    <dgm:pt modelId="{886690BB-8C8A-4DE6-AC01-8CC0366CF4F5}" type="sibTrans" cxnId="{87EC574C-C0B4-464C-8921-363C31C64BB7}">
      <dgm:prSet/>
      <dgm:spPr/>
      <dgm:t>
        <a:bodyPr/>
        <a:lstStyle/>
        <a:p>
          <a:endParaRPr lang="en-US"/>
        </a:p>
      </dgm:t>
    </dgm:pt>
    <dgm:pt modelId="{3820659C-B5E1-4CED-B38B-50A98050BED8}" type="pres">
      <dgm:prSet presAssocID="{4A76FF16-3CDD-45E1-8DF8-C4BAB716911A}" presName="linear" presStyleCnt="0">
        <dgm:presLayoutVars>
          <dgm:animLvl val="lvl"/>
          <dgm:resizeHandles val="exact"/>
        </dgm:presLayoutVars>
      </dgm:prSet>
      <dgm:spPr/>
    </dgm:pt>
    <dgm:pt modelId="{96A805E4-2107-49A3-BD77-3C70BA121985}" type="pres">
      <dgm:prSet presAssocID="{8331A5FE-0937-42BB-851A-E401D04790A0}" presName="parentText" presStyleLbl="node1" presStyleIdx="0" presStyleCnt="4">
        <dgm:presLayoutVars>
          <dgm:chMax val="0"/>
          <dgm:bulletEnabled val="1"/>
        </dgm:presLayoutVars>
      </dgm:prSet>
      <dgm:spPr/>
    </dgm:pt>
    <dgm:pt modelId="{66A61B0C-287D-406D-B09A-80E4C31EC81E}" type="pres">
      <dgm:prSet presAssocID="{76E07976-7831-4731-929D-024828E83D62}" presName="spacer" presStyleCnt="0"/>
      <dgm:spPr/>
    </dgm:pt>
    <dgm:pt modelId="{95DD3C3F-6913-4DF8-BA60-D5B77EE51AD0}" type="pres">
      <dgm:prSet presAssocID="{07068F90-6DC6-4275-86B5-AD0B1F2F97CD}" presName="parentText" presStyleLbl="node1" presStyleIdx="1" presStyleCnt="4">
        <dgm:presLayoutVars>
          <dgm:chMax val="0"/>
          <dgm:bulletEnabled val="1"/>
        </dgm:presLayoutVars>
      </dgm:prSet>
      <dgm:spPr/>
    </dgm:pt>
    <dgm:pt modelId="{AE6B6D19-C792-4D73-A9A4-722404BFC6F5}" type="pres">
      <dgm:prSet presAssocID="{07068F90-6DC6-4275-86B5-AD0B1F2F97CD}" presName="childText" presStyleLbl="revTx" presStyleIdx="0" presStyleCnt="1">
        <dgm:presLayoutVars>
          <dgm:bulletEnabled val="1"/>
        </dgm:presLayoutVars>
      </dgm:prSet>
      <dgm:spPr/>
    </dgm:pt>
    <dgm:pt modelId="{191229E1-A669-4C80-929D-90658F54B41C}" type="pres">
      <dgm:prSet presAssocID="{84972595-1857-402E-BD44-B8C9E1048B0D}" presName="parentText" presStyleLbl="node1" presStyleIdx="2" presStyleCnt="4">
        <dgm:presLayoutVars>
          <dgm:chMax val="0"/>
          <dgm:bulletEnabled val="1"/>
        </dgm:presLayoutVars>
      </dgm:prSet>
      <dgm:spPr/>
    </dgm:pt>
    <dgm:pt modelId="{82797555-CE34-4620-A414-A0D7DDE0ADDA}" type="pres">
      <dgm:prSet presAssocID="{DC09C0A9-E77E-40EF-9573-05045BBBDB52}" presName="spacer" presStyleCnt="0"/>
      <dgm:spPr/>
    </dgm:pt>
    <dgm:pt modelId="{9FB0B889-7813-4D35-8556-384C3E45CE9B}" type="pres">
      <dgm:prSet presAssocID="{DAE9F991-6572-4F64-B7F1-F31BB10A008E}" presName="parentText" presStyleLbl="node1" presStyleIdx="3" presStyleCnt="4">
        <dgm:presLayoutVars>
          <dgm:chMax val="0"/>
          <dgm:bulletEnabled val="1"/>
        </dgm:presLayoutVars>
      </dgm:prSet>
      <dgm:spPr/>
    </dgm:pt>
  </dgm:ptLst>
  <dgm:cxnLst>
    <dgm:cxn modelId="{1CE7B80E-DB07-49E4-A0DF-44AD0570221A}" type="presOf" srcId="{84972595-1857-402E-BD44-B8C9E1048B0D}" destId="{191229E1-A669-4C80-929D-90658F54B41C}" srcOrd="0" destOrd="0" presId="urn:microsoft.com/office/officeart/2005/8/layout/vList2"/>
    <dgm:cxn modelId="{0463552D-DF9C-439B-9B12-2AF5F55222A0}" srcId="{4A76FF16-3CDD-45E1-8DF8-C4BAB716911A}" destId="{8331A5FE-0937-42BB-851A-E401D04790A0}" srcOrd="0" destOrd="0" parTransId="{7F8F6BC6-D92A-4837-9A29-D783F2B70E20}" sibTransId="{76E07976-7831-4731-929D-024828E83D62}"/>
    <dgm:cxn modelId="{A9D02C3E-7BB6-45C6-BFAC-8DF6888523D0}" type="presOf" srcId="{4A76FF16-3CDD-45E1-8DF8-C4BAB716911A}" destId="{3820659C-B5E1-4CED-B38B-50A98050BED8}" srcOrd="0" destOrd="0" presId="urn:microsoft.com/office/officeart/2005/8/layout/vList2"/>
    <dgm:cxn modelId="{87EC574C-C0B4-464C-8921-363C31C64BB7}" srcId="{07068F90-6DC6-4275-86B5-AD0B1F2F97CD}" destId="{392FA100-3E91-4BDC-A0DF-3845E8635450}" srcOrd="0" destOrd="0" parTransId="{EC22291B-37D6-41CE-9AE5-D5F85AF5A51D}" sibTransId="{886690BB-8C8A-4DE6-AC01-8CC0366CF4F5}"/>
    <dgm:cxn modelId="{84E0CB70-D351-414D-9723-98EA6DA6A624}" srcId="{4A76FF16-3CDD-45E1-8DF8-C4BAB716911A}" destId="{07068F90-6DC6-4275-86B5-AD0B1F2F97CD}" srcOrd="1" destOrd="0" parTransId="{8C6C121B-8B4B-4819-92A2-26BC2F527871}" sibTransId="{BC7406FE-8270-4AA2-83FF-523B07F1DBCC}"/>
    <dgm:cxn modelId="{670D528B-6B17-4A61-ACD3-6C26F5CBE42D}" type="presOf" srcId="{DAE9F991-6572-4F64-B7F1-F31BB10A008E}" destId="{9FB0B889-7813-4D35-8556-384C3E45CE9B}" srcOrd="0" destOrd="0" presId="urn:microsoft.com/office/officeart/2005/8/layout/vList2"/>
    <dgm:cxn modelId="{82898FA6-05F9-45CF-9A82-8D084FECD12B}" type="presOf" srcId="{8331A5FE-0937-42BB-851A-E401D04790A0}" destId="{96A805E4-2107-49A3-BD77-3C70BA121985}" srcOrd="0" destOrd="0" presId="urn:microsoft.com/office/officeart/2005/8/layout/vList2"/>
    <dgm:cxn modelId="{AE153EBE-1E72-439D-AC89-BB092D822061}" srcId="{4A76FF16-3CDD-45E1-8DF8-C4BAB716911A}" destId="{84972595-1857-402E-BD44-B8C9E1048B0D}" srcOrd="2" destOrd="0" parTransId="{6083E805-0CEA-4EE2-88FA-A1DA7D185C48}" sibTransId="{DC09C0A9-E77E-40EF-9573-05045BBBDB52}"/>
    <dgm:cxn modelId="{23FC29C1-54EB-45E6-B723-3FF4BDECE12B}" type="presOf" srcId="{07068F90-6DC6-4275-86B5-AD0B1F2F97CD}" destId="{95DD3C3F-6913-4DF8-BA60-D5B77EE51AD0}" srcOrd="0" destOrd="0" presId="urn:microsoft.com/office/officeart/2005/8/layout/vList2"/>
    <dgm:cxn modelId="{367798ED-FE6C-4FDB-8763-1ABC1B03B6E2}" type="presOf" srcId="{392FA100-3E91-4BDC-A0DF-3845E8635450}" destId="{AE6B6D19-C792-4D73-A9A4-722404BFC6F5}" srcOrd="0" destOrd="0" presId="urn:microsoft.com/office/officeart/2005/8/layout/vList2"/>
    <dgm:cxn modelId="{B2CAB1F5-8DA5-42C9-8F63-033F9BDB1CCD}" srcId="{4A76FF16-3CDD-45E1-8DF8-C4BAB716911A}" destId="{DAE9F991-6572-4F64-B7F1-F31BB10A008E}" srcOrd="3" destOrd="0" parTransId="{C169FDEF-938C-43DE-82A2-485D02FCE2B2}" sibTransId="{8DC1791F-043B-4AF5-A2E2-460168006F09}"/>
    <dgm:cxn modelId="{359789AC-BFCB-4AAC-8C2E-70956790FF24}" type="presParOf" srcId="{3820659C-B5E1-4CED-B38B-50A98050BED8}" destId="{96A805E4-2107-49A3-BD77-3C70BA121985}" srcOrd="0" destOrd="0" presId="urn:microsoft.com/office/officeart/2005/8/layout/vList2"/>
    <dgm:cxn modelId="{3189B42B-28E2-4B56-9ED6-A8A97A2535CC}" type="presParOf" srcId="{3820659C-B5E1-4CED-B38B-50A98050BED8}" destId="{66A61B0C-287D-406D-B09A-80E4C31EC81E}" srcOrd="1" destOrd="0" presId="urn:microsoft.com/office/officeart/2005/8/layout/vList2"/>
    <dgm:cxn modelId="{656C0CF3-B50E-4932-90A8-DE29A5C25EF1}" type="presParOf" srcId="{3820659C-B5E1-4CED-B38B-50A98050BED8}" destId="{95DD3C3F-6913-4DF8-BA60-D5B77EE51AD0}" srcOrd="2" destOrd="0" presId="urn:microsoft.com/office/officeart/2005/8/layout/vList2"/>
    <dgm:cxn modelId="{5CB37221-B3D6-4E0E-B648-93A9A2D99065}" type="presParOf" srcId="{3820659C-B5E1-4CED-B38B-50A98050BED8}" destId="{AE6B6D19-C792-4D73-A9A4-722404BFC6F5}" srcOrd="3" destOrd="0" presId="urn:microsoft.com/office/officeart/2005/8/layout/vList2"/>
    <dgm:cxn modelId="{C4205696-68F4-4D3C-B5A3-BBB2C7AA33F1}" type="presParOf" srcId="{3820659C-B5E1-4CED-B38B-50A98050BED8}" destId="{191229E1-A669-4C80-929D-90658F54B41C}" srcOrd="4" destOrd="0" presId="urn:microsoft.com/office/officeart/2005/8/layout/vList2"/>
    <dgm:cxn modelId="{0FF9D968-C090-4DAC-B8B8-8B4014310394}" type="presParOf" srcId="{3820659C-B5E1-4CED-B38B-50A98050BED8}" destId="{82797555-CE34-4620-A414-A0D7DDE0ADDA}" srcOrd="5" destOrd="0" presId="urn:microsoft.com/office/officeart/2005/8/layout/vList2"/>
    <dgm:cxn modelId="{A75CD7C7-6244-427E-80F7-7FCDD216B920}" type="presParOf" srcId="{3820659C-B5E1-4CED-B38B-50A98050BED8}" destId="{9FB0B889-7813-4D35-8556-384C3E45CE9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colorful2" csCatId="colorful"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3C7DF28-1880-4E74-B16C-3B17B849D864}"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pt-PT"/>
        </a:p>
      </dgm:t>
    </dgm:pt>
    <dgm:pt modelId="{C14C3BC2-4F3A-4D19-8D94-34045E8A4056}">
      <dgm:prSet custT="1"/>
      <dgm:spPr>
        <a:xfrm>
          <a:off x="0" y="609603"/>
          <a:ext cx="8128000" cy="1001779"/>
        </a:xfrm>
      </dgm:spPr>
      <dgm:t>
        <a:bodyPr/>
        <a:lstStyle/>
        <a:p>
          <a:r>
            <a:rPr lang="en-US" sz="2000" b="1" dirty="0" err="1">
              <a:latin typeface="+mn-lt"/>
              <a:ea typeface="+mn-ea"/>
              <a:cs typeface="Segoe UI Light" panose="020B0502040204020203" pitchFamily="34" charset="0"/>
            </a:rPr>
            <a:t>PAGELATCH_xx</a:t>
          </a:r>
          <a:endParaRPr lang="en-US" sz="2000" dirty="0">
            <a:latin typeface="+mn-lt"/>
            <a:ea typeface="+mn-ea"/>
            <a:cs typeface="Segoe UI Light" panose="020B0502040204020203" pitchFamily="34" charset="0"/>
          </a:endParaRPr>
        </a:p>
      </dgm:t>
    </dgm:pt>
    <dgm:pt modelId="{894C6300-67B9-4B05-8454-DDF79D00010E}" type="parTrans" cxnId="{D04AF256-9B95-4454-A5CF-99C4C6ED9DB0}">
      <dgm:prSet/>
      <dgm:spPr/>
      <dgm:t>
        <a:bodyPr/>
        <a:lstStyle/>
        <a:p>
          <a:endParaRPr lang="pt-PT" sz="2400">
            <a:latin typeface="Segoe UI Light" panose="020B0502040204020203" pitchFamily="34" charset="0"/>
            <a:cs typeface="Segoe UI Light" panose="020B0502040204020203" pitchFamily="34" charset="0"/>
          </a:endParaRPr>
        </a:p>
      </dgm:t>
    </dgm:pt>
    <dgm:pt modelId="{C36663AB-F660-433E-A607-26A588316F93}" type="sibTrans" cxnId="{D04AF256-9B95-4454-A5CF-99C4C6ED9DB0}">
      <dgm:prSet/>
      <dgm:spPr/>
      <dgm:t>
        <a:bodyPr/>
        <a:lstStyle/>
        <a:p>
          <a:endParaRPr lang="pt-PT" sz="2400">
            <a:latin typeface="Segoe UI Light" panose="020B0502040204020203" pitchFamily="34" charset="0"/>
            <a:cs typeface="Segoe UI Light" panose="020B0502040204020203" pitchFamily="34" charset="0"/>
          </a:endParaRPr>
        </a:p>
      </dgm:t>
    </dgm:pt>
    <dgm:pt modelId="{6EADBA32-A96F-4F92-93DD-4BAE97973016}">
      <dgm:prSet custT="1"/>
      <dgm:spPr>
        <a:xfrm>
          <a:off x="0" y="2659150"/>
          <a:ext cx="8128000" cy="1001779"/>
        </a:xfrm>
      </dgm:spPr>
      <dgm:t>
        <a:bodyPr/>
        <a:lstStyle/>
        <a:p>
          <a:r>
            <a:rPr lang="en-US" sz="2000" b="1" dirty="0" err="1">
              <a:latin typeface="+mn-lt"/>
              <a:ea typeface="+mn-ea"/>
              <a:cs typeface="Segoe UI Light" panose="020B0502040204020203" pitchFamily="34" charset="0"/>
            </a:rPr>
            <a:t>PAGEIOLATCH_xx</a:t>
          </a:r>
          <a:endParaRPr lang="en-US" sz="2000" dirty="0">
            <a:latin typeface="+mn-lt"/>
            <a:ea typeface="+mn-ea"/>
            <a:cs typeface="Segoe UI Light" panose="020B0502040204020203" pitchFamily="34" charset="0"/>
          </a:endParaRPr>
        </a:p>
      </dgm:t>
    </dgm:pt>
    <dgm:pt modelId="{60A3F874-D1C3-4CD9-9166-B2CF3DE6230A}" type="parTrans" cxnId="{B05F80ED-D29E-4312-A35A-EA4B49600AF5}">
      <dgm:prSet/>
      <dgm:spPr/>
      <dgm:t>
        <a:bodyPr/>
        <a:lstStyle/>
        <a:p>
          <a:endParaRPr lang="pt-PT" sz="2400">
            <a:latin typeface="Segoe UI Light" panose="020B0502040204020203" pitchFamily="34" charset="0"/>
            <a:cs typeface="Segoe UI Light" panose="020B0502040204020203" pitchFamily="34" charset="0"/>
          </a:endParaRPr>
        </a:p>
      </dgm:t>
    </dgm:pt>
    <dgm:pt modelId="{08177318-AEE9-4A1F-BFC6-FE4094E96669}" type="sibTrans" cxnId="{B05F80ED-D29E-4312-A35A-EA4B49600AF5}">
      <dgm:prSet/>
      <dgm:spPr/>
      <dgm:t>
        <a:bodyPr/>
        <a:lstStyle/>
        <a:p>
          <a:endParaRPr lang="pt-PT" sz="2400">
            <a:latin typeface="Segoe UI Light" panose="020B0502040204020203" pitchFamily="34" charset="0"/>
            <a:cs typeface="Segoe UI Light" panose="020B0502040204020203" pitchFamily="34" charset="0"/>
          </a:endParaRPr>
        </a:p>
      </dgm:t>
    </dgm:pt>
    <dgm:pt modelId="{304B1F08-3AC4-41CB-B7B9-4FF6F62A045F}">
      <dgm:prSet custT="1"/>
      <dgm:spPr>
        <a:xfrm>
          <a:off x="0" y="1582750"/>
          <a:ext cx="8128000" cy="1076400"/>
        </a:xfrm>
      </dgm:spPr>
      <dgm:t>
        <a:bodyPr/>
        <a:lstStyle/>
        <a:p>
          <a:r>
            <a:rPr lang="en-US" sz="2000" kern="1200" spc="0" baseline="0" dirty="0">
              <a:latin typeface="+mn-lt"/>
              <a:ea typeface="+mn-ea"/>
              <a:cs typeface="Segoe UI" panose="020B0502040204020203" pitchFamily="34" charset="0"/>
            </a:rPr>
            <a:t>Indicates contention for access to buffers (in-memory copies of pages).</a:t>
          </a:r>
        </a:p>
      </dgm:t>
    </dgm:pt>
    <dgm:pt modelId="{FD00FE79-61F6-49A5-9622-23F4F9DB9480}" type="parTrans" cxnId="{D16D830F-2D7B-464B-98EA-A7B85C7E531B}">
      <dgm:prSet/>
      <dgm:spPr/>
      <dgm:t>
        <a:bodyPr/>
        <a:lstStyle/>
        <a:p>
          <a:endParaRPr lang="pt-PT" sz="2400">
            <a:latin typeface="Segoe UI Light" panose="020B0502040204020203" pitchFamily="34" charset="0"/>
            <a:cs typeface="Segoe UI Light" panose="020B0502040204020203" pitchFamily="34" charset="0"/>
          </a:endParaRPr>
        </a:p>
      </dgm:t>
    </dgm:pt>
    <dgm:pt modelId="{DFED71E0-8661-4A25-8691-2445A1B194FE}" type="sibTrans" cxnId="{D16D830F-2D7B-464B-98EA-A7B85C7E531B}">
      <dgm:prSet/>
      <dgm:spPr/>
      <dgm:t>
        <a:bodyPr/>
        <a:lstStyle/>
        <a:p>
          <a:endParaRPr lang="pt-PT" sz="2400">
            <a:latin typeface="Segoe UI Light" panose="020B0502040204020203" pitchFamily="34" charset="0"/>
            <a:cs typeface="Segoe UI Light" panose="020B0502040204020203" pitchFamily="34" charset="0"/>
          </a:endParaRPr>
        </a:p>
      </dgm:t>
    </dgm:pt>
    <dgm:pt modelId="{A3EBFBC2-5926-4253-964D-E7DCA50DAA2C}">
      <dgm:prSet custT="1"/>
      <dgm:spPr>
        <a:xfrm>
          <a:off x="0" y="3660929"/>
          <a:ext cx="8128000" cy="1412775"/>
        </a:xfrm>
      </dgm:spPr>
      <dgm:t>
        <a:bodyPr/>
        <a:lstStyle/>
        <a:p>
          <a:r>
            <a:rPr lang="en-US" sz="2000" kern="1200" spc="0" baseline="0">
              <a:latin typeface="+mn-lt"/>
              <a:ea typeface="+mn-ea"/>
              <a:cs typeface="Segoe UI" panose="020B0502040204020203" pitchFamily="34" charset="0"/>
            </a:rPr>
            <a:t>Indicates I/O problems in data pages.</a:t>
          </a:r>
          <a:endParaRPr lang="en-US" sz="2000" kern="1200" spc="0" baseline="0" dirty="0">
            <a:latin typeface="+mn-lt"/>
            <a:ea typeface="+mn-ea"/>
            <a:cs typeface="Segoe UI" panose="020B0502040204020203" pitchFamily="34" charset="0"/>
          </a:endParaRPr>
        </a:p>
      </dgm:t>
    </dgm:pt>
    <dgm:pt modelId="{33CEA6D0-B7AC-4F7F-BAE6-169D66030B3F}" type="parTrans" cxnId="{36BA560C-D6D7-4097-B08F-7F680AD2C40B}">
      <dgm:prSet/>
      <dgm:spPr/>
      <dgm:t>
        <a:bodyPr/>
        <a:lstStyle/>
        <a:p>
          <a:endParaRPr lang="pt-PT" sz="2400">
            <a:latin typeface="Segoe UI Light" panose="020B0502040204020203" pitchFamily="34" charset="0"/>
            <a:cs typeface="Segoe UI Light" panose="020B0502040204020203" pitchFamily="34" charset="0"/>
          </a:endParaRPr>
        </a:p>
      </dgm:t>
    </dgm:pt>
    <dgm:pt modelId="{9480F9B5-803C-4CCE-B3A3-0082933CAB76}" type="sibTrans" cxnId="{36BA560C-D6D7-4097-B08F-7F680AD2C40B}">
      <dgm:prSet/>
      <dgm:spPr/>
      <dgm:t>
        <a:bodyPr/>
        <a:lstStyle/>
        <a:p>
          <a:endParaRPr lang="pt-PT" sz="2400">
            <a:latin typeface="Segoe UI Light" panose="020B0502040204020203" pitchFamily="34" charset="0"/>
            <a:cs typeface="Segoe UI Light" panose="020B0502040204020203" pitchFamily="34" charset="0"/>
          </a:endParaRPr>
        </a:p>
      </dgm:t>
    </dgm:pt>
    <dgm:pt modelId="{7A2EA1CB-EF3B-4F52-9B8D-3C13A9423491}">
      <dgm:prSet custT="1"/>
      <dgm:spPr>
        <a:xfrm>
          <a:off x="0" y="1582750"/>
          <a:ext cx="8128000" cy="1076400"/>
        </a:xfrm>
      </dgm:spPr>
      <dgm:t>
        <a:bodyPr/>
        <a:lstStyle/>
        <a:p>
          <a:r>
            <a:rPr lang="en-US" sz="2000" kern="1200" spc="0" baseline="0">
              <a:latin typeface="+mn-lt"/>
              <a:ea typeface="+mn-ea"/>
              <a:cs typeface="Segoe UI" panose="020B0502040204020203" pitchFamily="34" charset="0"/>
            </a:rPr>
            <a:t>If PFS, SGAM, and GAM then it is allocation contention (updating allocation metadata), namely in TempDB.</a:t>
          </a:r>
          <a:endParaRPr lang="en-US" sz="2000" kern="1200" spc="0" baseline="0" dirty="0">
            <a:latin typeface="+mn-lt"/>
            <a:ea typeface="+mn-ea"/>
            <a:cs typeface="Segoe UI" panose="020B0502040204020203" pitchFamily="34" charset="0"/>
          </a:endParaRPr>
        </a:p>
      </dgm:t>
    </dgm:pt>
    <dgm:pt modelId="{6E016DD9-89A2-4020-84FA-A37E3F3FA1A2}" type="parTrans" cxnId="{9D8071E9-BF98-43D4-AE1D-96C90C312220}">
      <dgm:prSet/>
      <dgm:spPr/>
      <dgm:t>
        <a:bodyPr/>
        <a:lstStyle/>
        <a:p>
          <a:endParaRPr lang="pt-PT" sz="2400"/>
        </a:p>
      </dgm:t>
    </dgm:pt>
    <dgm:pt modelId="{831F50FD-91A3-4428-94F7-01D2E8F996A9}" type="sibTrans" cxnId="{9D8071E9-BF98-43D4-AE1D-96C90C312220}">
      <dgm:prSet/>
      <dgm:spPr/>
      <dgm:t>
        <a:bodyPr/>
        <a:lstStyle/>
        <a:p>
          <a:endParaRPr lang="pt-PT" sz="2400"/>
        </a:p>
      </dgm:t>
    </dgm:pt>
    <dgm:pt modelId="{857E29B3-8562-4D93-BFF7-EFF27609162D}">
      <dgm:prSet custT="1"/>
      <dgm:spPr>
        <a:xfrm>
          <a:off x="0" y="3660929"/>
          <a:ext cx="8128000" cy="1412775"/>
        </a:xfrm>
      </dgm:spPr>
      <dgm:t>
        <a:bodyPr/>
        <a:lstStyle/>
        <a:p>
          <a:r>
            <a:rPr lang="en-US" sz="2000" kern="1200" spc="0" baseline="0" dirty="0">
              <a:latin typeface="+mn-lt"/>
              <a:ea typeface="+mn-ea"/>
              <a:cs typeface="Segoe UI" panose="020B0502040204020203" pitchFamily="34" charset="0"/>
            </a:rPr>
            <a:t>Validate disk and memory </a:t>
          </a:r>
          <a:r>
            <a:rPr lang="en-US" sz="2000" kern="1200" spc="0" baseline="0" dirty="0" err="1">
              <a:latin typeface="+mn-lt"/>
              <a:ea typeface="+mn-ea"/>
              <a:cs typeface="Segoe UI" panose="020B0502040204020203" pitchFamily="34" charset="0"/>
            </a:rPr>
            <a:t>perfmon</a:t>
          </a:r>
          <a:r>
            <a:rPr lang="en-US" sz="2000" kern="1200" spc="0" baseline="0" dirty="0">
              <a:latin typeface="+mn-lt"/>
              <a:ea typeface="+mn-ea"/>
              <a:cs typeface="Segoe UI" panose="020B0502040204020203" pitchFamily="34" charset="0"/>
            </a:rPr>
            <a:t> counters and the SQL </a:t>
          </a:r>
          <a:r>
            <a:rPr lang="en-US" sz="2000" kern="1200" spc="0" baseline="0" dirty="0" err="1">
              <a:latin typeface="+mn-lt"/>
              <a:ea typeface="+mn-ea"/>
              <a:cs typeface="Segoe UI" panose="020B0502040204020203" pitchFamily="34" charset="0"/>
            </a:rPr>
            <a:t>Errorlogs</a:t>
          </a:r>
          <a:r>
            <a:rPr lang="en-US" sz="2000" kern="1200" spc="0" baseline="0" dirty="0">
              <a:latin typeface="+mn-lt"/>
              <a:ea typeface="+mn-ea"/>
              <a:cs typeface="Segoe UI" panose="020B0502040204020203" pitchFamily="34" charset="0"/>
            </a:rPr>
            <a:t> (for error 833 “I/O taking longer than 15 seconds”).</a:t>
          </a:r>
        </a:p>
      </dgm:t>
    </dgm:pt>
    <dgm:pt modelId="{201E74B6-A46D-48C7-A78A-95920E7BFC41}" type="parTrans" cxnId="{A203BE21-A641-4810-83F1-F2DC683162A7}">
      <dgm:prSet/>
      <dgm:spPr/>
      <dgm:t>
        <a:bodyPr/>
        <a:lstStyle/>
        <a:p>
          <a:endParaRPr lang="pt-PT" sz="2400"/>
        </a:p>
      </dgm:t>
    </dgm:pt>
    <dgm:pt modelId="{DDCF8AAB-34A0-4043-9976-048B118FD541}" type="sibTrans" cxnId="{A203BE21-A641-4810-83F1-F2DC683162A7}">
      <dgm:prSet/>
      <dgm:spPr/>
      <dgm:t>
        <a:bodyPr/>
        <a:lstStyle/>
        <a:p>
          <a:endParaRPr lang="pt-PT" sz="2400"/>
        </a:p>
      </dgm:t>
    </dgm:pt>
    <dgm:pt modelId="{699A8595-20EC-43E3-B681-B69EC6253C46}">
      <dgm:prSet custT="1"/>
      <dgm:spPr>
        <a:xfrm>
          <a:off x="0" y="3660929"/>
          <a:ext cx="8128000" cy="1412775"/>
        </a:xfrm>
      </dgm:spPr>
      <dgm:t>
        <a:bodyPr/>
        <a:lstStyle/>
        <a:p>
          <a:r>
            <a:rPr lang="en-US" sz="2000" kern="1200" spc="0" baseline="0" dirty="0">
              <a:latin typeface="+mn-lt"/>
              <a:ea typeface="+mn-ea"/>
              <a:cs typeface="Segoe UI" panose="020B0502040204020203" pitchFamily="34" charset="0"/>
            </a:rPr>
            <a:t>Examine the virtual file stats DMV.</a:t>
          </a:r>
        </a:p>
      </dgm:t>
    </dgm:pt>
    <dgm:pt modelId="{579D559C-3FF4-4448-BE90-436B53D2CDA3}" type="parTrans" cxnId="{DD549E3A-BDA7-4C65-BA75-12A13E729C06}">
      <dgm:prSet/>
      <dgm:spPr/>
      <dgm:t>
        <a:bodyPr/>
        <a:lstStyle/>
        <a:p>
          <a:endParaRPr lang="pt-PT" sz="2000"/>
        </a:p>
      </dgm:t>
    </dgm:pt>
    <dgm:pt modelId="{B715540F-D990-486B-87EF-487E96A74E15}" type="sibTrans" cxnId="{DD549E3A-BDA7-4C65-BA75-12A13E729C06}">
      <dgm:prSet/>
      <dgm:spPr/>
      <dgm:t>
        <a:bodyPr/>
        <a:lstStyle/>
        <a:p>
          <a:endParaRPr lang="pt-PT" sz="2000"/>
        </a:p>
      </dgm:t>
    </dgm:pt>
    <dgm:pt modelId="{8C068078-C8A3-4D07-AC5C-91B5DD9F321C}">
      <dgm:prSet custT="1"/>
      <dgm:spPr>
        <a:xfrm>
          <a:off x="0" y="2886640"/>
          <a:ext cx="8128000" cy="659295"/>
        </a:xfrm>
      </dgm:spPr>
      <dgm:t>
        <a:bodyPr/>
        <a:lstStyle/>
        <a:p>
          <a:pPr>
            <a:buChar char="•"/>
          </a:pPr>
          <a:r>
            <a:rPr lang="en-US" sz="2000" spc="0" baseline="0" dirty="0">
              <a:latin typeface="+mn-lt"/>
              <a:ea typeface="+mn-ea"/>
              <a:cs typeface="Segoe UI" panose="020B0502040204020203" pitchFamily="34" charset="0"/>
            </a:rPr>
            <a:t>Waiting for a log flush to disk</a:t>
          </a:r>
        </a:p>
      </dgm:t>
    </dgm:pt>
    <dgm:pt modelId="{B4409938-A9C2-493C-A9CE-3D06F21F92A4}" type="parTrans" cxnId="{344E7736-4394-45D6-B1E0-DB90F91B2A47}">
      <dgm:prSet/>
      <dgm:spPr/>
      <dgm:t>
        <a:bodyPr/>
        <a:lstStyle/>
        <a:p>
          <a:endParaRPr lang="en-US"/>
        </a:p>
      </dgm:t>
    </dgm:pt>
    <dgm:pt modelId="{8B6D0AF3-BA7F-4BC0-81DA-92B6D56DB752}" type="sibTrans" cxnId="{344E7736-4394-45D6-B1E0-DB90F91B2A47}">
      <dgm:prSet/>
      <dgm:spPr/>
      <dgm:t>
        <a:bodyPr/>
        <a:lstStyle/>
        <a:p>
          <a:endParaRPr lang="en-US"/>
        </a:p>
      </dgm:t>
    </dgm:pt>
    <dgm:pt modelId="{61B7FB33-8DD4-48E7-B154-71D950388BCC}">
      <dgm:prSet custT="1"/>
      <dgm:spPr/>
      <dgm:t>
        <a:bodyPr/>
        <a:lstStyle/>
        <a:p>
          <a:pPr>
            <a:buChar char="•"/>
          </a:pPr>
          <a:r>
            <a:rPr lang="en-US" sz="2000" spc="0" baseline="0" dirty="0">
              <a:latin typeface="+mn-lt"/>
              <a:ea typeface="+mn-ea"/>
              <a:cs typeface="Segoe UI" panose="020B0502040204020203" pitchFamily="34" charset="0"/>
            </a:rPr>
            <a:t>Examine the I/O latency for the log file</a:t>
          </a:r>
        </a:p>
      </dgm:t>
    </dgm:pt>
    <dgm:pt modelId="{A917DFE1-34A6-4E6E-8C08-A7240FD7C930}" type="parTrans" cxnId="{CC7D4140-D8EC-4513-9A27-17625B1E0D7B}">
      <dgm:prSet/>
      <dgm:spPr/>
      <dgm:t>
        <a:bodyPr/>
        <a:lstStyle/>
        <a:p>
          <a:endParaRPr lang="en-US"/>
        </a:p>
      </dgm:t>
    </dgm:pt>
    <dgm:pt modelId="{DFEFE4F4-25EE-43FB-BD3F-134BF7206498}" type="sibTrans" cxnId="{CC7D4140-D8EC-4513-9A27-17625B1E0D7B}">
      <dgm:prSet/>
      <dgm:spPr/>
      <dgm:t>
        <a:bodyPr/>
        <a:lstStyle/>
        <a:p>
          <a:endParaRPr lang="en-US"/>
        </a:p>
      </dgm:t>
    </dgm:pt>
    <dgm:pt modelId="{3D87D06F-8A5F-4797-854F-107252DB2A4B}">
      <dgm:prSet custT="1"/>
      <dgm:spPr>
        <a:xfrm>
          <a:off x="0" y="3660929"/>
          <a:ext cx="8128000" cy="1412775"/>
        </a:xfrm>
      </dgm:spPr>
      <dgm:t>
        <a:bodyPr/>
        <a:lstStyle/>
        <a:p>
          <a:r>
            <a:rPr lang="en-US" sz="2000" b="1" kern="1200">
              <a:latin typeface="+mn-lt"/>
              <a:ea typeface="+mn-ea"/>
              <a:cs typeface="Segoe UI Light" panose="020B0502040204020203" pitchFamily="34" charset="0"/>
            </a:rPr>
            <a:t>WRITELOG</a:t>
          </a:r>
          <a:endParaRPr lang="en-US" sz="2000" kern="1200" spc="0" baseline="0" dirty="0">
            <a:latin typeface="+mn-lt"/>
            <a:ea typeface="+mn-ea"/>
            <a:cs typeface="Segoe UI" panose="020B0502040204020203" pitchFamily="34" charset="0"/>
          </a:endParaRPr>
        </a:p>
      </dgm:t>
    </dgm:pt>
    <dgm:pt modelId="{BF78C6CD-81D4-4442-945E-A07AC8E3CCDE}" type="parTrans" cxnId="{7956A173-C38C-47B5-968B-747A62231343}">
      <dgm:prSet/>
      <dgm:spPr/>
      <dgm:t>
        <a:bodyPr/>
        <a:lstStyle/>
        <a:p>
          <a:endParaRPr lang="en-US"/>
        </a:p>
      </dgm:t>
    </dgm:pt>
    <dgm:pt modelId="{AC7C2415-5968-434C-A10B-472B9C98A00A}" type="sibTrans" cxnId="{7956A173-C38C-47B5-968B-747A62231343}">
      <dgm:prSet/>
      <dgm:spPr/>
      <dgm:t>
        <a:bodyPr/>
        <a:lstStyle/>
        <a:p>
          <a:endParaRPr lang="en-US"/>
        </a:p>
      </dgm:t>
    </dgm:pt>
    <dgm:pt modelId="{DA708F9D-D4C0-4B88-A16A-8D4222D42792}" type="pres">
      <dgm:prSet presAssocID="{53C7DF28-1880-4E74-B16C-3B17B849D864}" presName="linear" presStyleCnt="0">
        <dgm:presLayoutVars>
          <dgm:animLvl val="lvl"/>
          <dgm:resizeHandles val="exact"/>
        </dgm:presLayoutVars>
      </dgm:prSet>
      <dgm:spPr/>
    </dgm:pt>
    <dgm:pt modelId="{076FE764-EFB2-4CCA-A2B9-B34483D9B850}" type="pres">
      <dgm:prSet presAssocID="{C14C3BC2-4F3A-4D19-8D94-34045E8A4056}" presName="parentText" presStyleLbl="node1" presStyleIdx="0" presStyleCnt="3">
        <dgm:presLayoutVars>
          <dgm:chMax val="0"/>
          <dgm:bulletEnabled val="1"/>
        </dgm:presLayoutVars>
      </dgm:prSet>
      <dgm:spPr/>
    </dgm:pt>
    <dgm:pt modelId="{4CC04AD1-E2E1-4F58-97A7-EE8F72B95588}" type="pres">
      <dgm:prSet presAssocID="{C14C3BC2-4F3A-4D19-8D94-34045E8A4056}" presName="childText" presStyleLbl="revTx" presStyleIdx="0" presStyleCnt="3">
        <dgm:presLayoutVars>
          <dgm:bulletEnabled val="1"/>
        </dgm:presLayoutVars>
      </dgm:prSet>
      <dgm:spPr/>
    </dgm:pt>
    <dgm:pt modelId="{AA6AB426-7ED9-4EDC-8238-20D76A8710DD}" type="pres">
      <dgm:prSet presAssocID="{6EADBA32-A96F-4F92-93DD-4BAE97973016}" presName="parentText" presStyleLbl="node1" presStyleIdx="1" presStyleCnt="3">
        <dgm:presLayoutVars>
          <dgm:chMax val="0"/>
          <dgm:bulletEnabled val="1"/>
        </dgm:presLayoutVars>
      </dgm:prSet>
      <dgm:spPr/>
    </dgm:pt>
    <dgm:pt modelId="{E9E377CF-33ED-4F79-B1CB-9910258DD5C5}" type="pres">
      <dgm:prSet presAssocID="{6EADBA32-A96F-4F92-93DD-4BAE97973016}" presName="childText" presStyleLbl="revTx" presStyleIdx="1" presStyleCnt="3">
        <dgm:presLayoutVars>
          <dgm:bulletEnabled val="1"/>
        </dgm:presLayoutVars>
      </dgm:prSet>
      <dgm:spPr/>
    </dgm:pt>
    <dgm:pt modelId="{E65CCEDE-8C32-4DBE-B065-7DCA0D429E00}" type="pres">
      <dgm:prSet presAssocID="{3D87D06F-8A5F-4797-854F-107252DB2A4B}" presName="parentText" presStyleLbl="node1" presStyleIdx="2" presStyleCnt="3">
        <dgm:presLayoutVars>
          <dgm:chMax val="0"/>
          <dgm:bulletEnabled val="1"/>
        </dgm:presLayoutVars>
      </dgm:prSet>
      <dgm:spPr/>
    </dgm:pt>
    <dgm:pt modelId="{6FD9EA1F-D84D-4FB7-BD06-6611B41ACE7D}" type="pres">
      <dgm:prSet presAssocID="{3D87D06F-8A5F-4797-854F-107252DB2A4B}" presName="childText" presStyleLbl="revTx" presStyleIdx="2" presStyleCnt="3">
        <dgm:presLayoutVars>
          <dgm:bulletEnabled val="1"/>
        </dgm:presLayoutVars>
      </dgm:prSet>
      <dgm:spPr/>
    </dgm:pt>
  </dgm:ptLst>
  <dgm:cxnLst>
    <dgm:cxn modelId="{36BA560C-D6D7-4097-B08F-7F680AD2C40B}" srcId="{6EADBA32-A96F-4F92-93DD-4BAE97973016}" destId="{A3EBFBC2-5926-4253-964D-E7DCA50DAA2C}" srcOrd="0" destOrd="0" parTransId="{33CEA6D0-B7AC-4F7F-BAE6-169D66030B3F}" sibTransId="{9480F9B5-803C-4CCE-B3A3-0082933CAB76}"/>
    <dgm:cxn modelId="{6062B10D-9601-43CA-B758-B58DD4873DCE}" type="presOf" srcId="{8C068078-C8A3-4D07-AC5C-91B5DD9F321C}" destId="{6FD9EA1F-D84D-4FB7-BD06-6611B41ACE7D}" srcOrd="0" destOrd="0" presId="urn:microsoft.com/office/officeart/2005/8/layout/vList2"/>
    <dgm:cxn modelId="{D16D830F-2D7B-464B-98EA-A7B85C7E531B}" srcId="{C14C3BC2-4F3A-4D19-8D94-34045E8A4056}" destId="{304B1F08-3AC4-41CB-B7B9-4FF6F62A045F}" srcOrd="0" destOrd="0" parTransId="{FD00FE79-61F6-49A5-9622-23F4F9DB9480}" sibTransId="{DFED71E0-8661-4A25-8691-2445A1B194FE}"/>
    <dgm:cxn modelId="{A203BE21-A641-4810-83F1-F2DC683162A7}" srcId="{6EADBA32-A96F-4F92-93DD-4BAE97973016}" destId="{857E29B3-8562-4D93-BFF7-EFF27609162D}" srcOrd="1" destOrd="0" parTransId="{201E74B6-A46D-48C7-A78A-95920E7BFC41}" sibTransId="{DDCF8AAB-34A0-4043-9976-048B118FD541}"/>
    <dgm:cxn modelId="{344E7736-4394-45D6-B1E0-DB90F91B2A47}" srcId="{3D87D06F-8A5F-4797-854F-107252DB2A4B}" destId="{8C068078-C8A3-4D07-AC5C-91B5DD9F321C}" srcOrd="0" destOrd="0" parTransId="{B4409938-A9C2-493C-A9CE-3D06F21F92A4}" sibTransId="{8B6D0AF3-BA7F-4BC0-81DA-92B6D56DB752}"/>
    <dgm:cxn modelId="{DD549E3A-BDA7-4C65-BA75-12A13E729C06}" srcId="{6EADBA32-A96F-4F92-93DD-4BAE97973016}" destId="{699A8595-20EC-43E3-B681-B69EC6253C46}" srcOrd="2" destOrd="0" parTransId="{579D559C-3FF4-4448-BE90-436B53D2CDA3}" sibTransId="{B715540F-D990-486B-87EF-487E96A74E15}"/>
    <dgm:cxn modelId="{A045553B-8AD8-4F1F-A308-AFC34D452324}" type="presOf" srcId="{6EADBA32-A96F-4F92-93DD-4BAE97973016}" destId="{AA6AB426-7ED9-4EDC-8238-20D76A8710DD}" srcOrd="0" destOrd="0" presId="urn:microsoft.com/office/officeart/2005/8/layout/vList2"/>
    <dgm:cxn modelId="{5AD70A3F-8997-4B51-A2E4-2124C57D0A21}" type="presOf" srcId="{A3EBFBC2-5926-4253-964D-E7DCA50DAA2C}" destId="{E9E377CF-33ED-4F79-B1CB-9910258DD5C5}" srcOrd="0" destOrd="0" presId="urn:microsoft.com/office/officeart/2005/8/layout/vList2"/>
    <dgm:cxn modelId="{CC7D4140-D8EC-4513-9A27-17625B1E0D7B}" srcId="{3D87D06F-8A5F-4797-854F-107252DB2A4B}" destId="{61B7FB33-8DD4-48E7-B154-71D950388BCC}" srcOrd="1" destOrd="0" parTransId="{A917DFE1-34A6-4E6E-8C08-A7240FD7C930}" sibTransId="{DFEFE4F4-25EE-43FB-BD3F-134BF7206498}"/>
    <dgm:cxn modelId="{41B2BA62-A94E-4467-9BD0-EA3028E0AB9E}" type="presOf" srcId="{857E29B3-8562-4D93-BFF7-EFF27609162D}" destId="{E9E377CF-33ED-4F79-B1CB-9910258DD5C5}" srcOrd="0" destOrd="1" presId="urn:microsoft.com/office/officeart/2005/8/layout/vList2"/>
    <dgm:cxn modelId="{7956A173-C38C-47B5-968B-747A62231343}" srcId="{53C7DF28-1880-4E74-B16C-3B17B849D864}" destId="{3D87D06F-8A5F-4797-854F-107252DB2A4B}" srcOrd="2" destOrd="0" parTransId="{BF78C6CD-81D4-4442-945E-A07AC8E3CCDE}" sibTransId="{AC7C2415-5968-434C-A10B-472B9C98A00A}"/>
    <dgm:cxn modelId="{D04AF256-9B95-4454-A5CF-99C4C6ED9DB0}" srcId="{53C7DF28-1880-4E74-B16C-3B17B849D864}" destId="{C14C3BC2-4F3A-4D19-8D94-34045E8A4056}" srcOrd="0" destOrd="0" parTransId="{894C6300-67B9-4B05-8454-DDF79D00010E}" sibTransId="{C36663AB-F660-433E-A607-26A588316F93}"/>
    <dgm:cxn modelId="{81779782-BCBC-4D41-9FEB-19A5C62D8139}" type="presOf" srcId="{304B1F08-3AC4-41CB-B7B9-4FF6F62A045F}" destId="{4CC04AD1-E2E1-4F58-97A7-EE8F72B95588}" srcOrd="0" destOrd="0" presId="urn:microsoft.com/office/officeart/2005/8/layout/vList2"/>
    <dgm:cxn modelId="{E959F68E-ED4C-4E03-93BD-CEA812403A84}" type="presOf" srcId="{53C7DF28-1880-4E74-B16C-3B17B849D864}" destId="{DA708F9D-D4C0-4B88-A16A-8D4222D42792}" srcOrd="0" destOrd="0" presId="urn:microsoft.com/office/officeart/2005/8/layout/vList2"/>
    <dgm:cxn modelId="{43F0A599-A463-4E97-92BE-8504124326A0}" type="presOf" srcId="{61B7FB33-8DD4-48E7-B154-71D950388BCC}" destId="{6FD9EA1F-D84D-4FB7-BD06-6611B41ACE7D}" srcOrd="0" destOrd="1" presId="urn:microsoft.com/office/officeart/2005/8/layout/vList2"/>
    <dgm:cxn modelId="{D925E0A1-3815-45B3-BDCA-90B797FB3C52}" type="presOf" srcId="{3D87D06F-8A5F-4797-854F-107252DB2A4B}" destId="{E65CCEDE-8C32-4DBE-B065-7DCA0D429E00}" srcOrd="0" destOrd="0" presId="urn:microsoft.com/office/officeart/2005/8/layout/vList2"/>
    <dgm:cxn modelId="{6E4F99CD-DDCD-4485-BD3F-6C1FE038AA4C}" type="presOf" srcId="{699A8595-20EC-43E3-B681-B69EC6253C46}" destId="{E9E377CF-33ED-4F79-B1CB-9910258DD5C5}" srcOrd="0" destOrd="2" presId="urn:microsoft.com/office/officeart/2005/8/layout/vList2"/>
    <dgm:cxn modelId="{1E3E93E1-DAF7-4BD9-B4F3-53380D153ED6}" type="presOf" srcId="{C14C3BC2-4F3A-4D19-8D94-34045E8A4056}" destId="{076FE764-EFB2-4CCA-A2B9-B34483D9B850}" srcOrd="0" destOrd="0" presId="urn:microsoft.com/office/officeart/2005/8/layout/vList2"/>
    <dgm:cxn modelId="{9D8071E9-BF98-43D4-AE1D-96C90C312220}" srcId="{C14C3BC2-4F3A-4D19-8D94-34045E8A4056}" destId="{7A2EA1CB-EF3B-4F52-9B8D-3C13A9423491}" srcOrd="1" destOrd="0" parTransId="{6E016DD9-89A2-4020-84FA-A37E3F3FA1A2}" sibTransId="{831F50FD-91A3-4428-94F7-01D2E8F996A9}"/>
    <dgm:cxn modelId="{B05F80ED-D29E-4312-A35A-EA4B49600AF5}" srcId="{53C7DF28-1880-4E74-B16C-3B17B849D864}" destId="{6EADBA32-A96F-4F92-93DD-4BAE97973016}" srcOrd="1" destOrd="0" parTransId="{60A3F874-D1C3-4CD9-9166-B2CF3DE6230A}" sibTransId="{08177318-AEE9-4A1F-BFC6-FE4094E96669}"/>
    <dgm:cxn modelId="{900787F3-7FA0-481E-AF78-426D419185AE}" type="presOf" srcId="{7A2EA1CB-EF3B-4F52-9B8D-3C13A9423491}" destId="{4CC04AD1-E2E1-4F58-97A7-EE8F72B95588}" srcOrd="0" destOrd="1" presId="urn:microsoft.com/office/officeart/2005/8/layout/vList2"/>
    <dgm:cxn modelId="{B5DBA47D-8C32-4759-84E1-9BA0F5E7BB08}" type="presParOf" srcId="{DA708F9D-D4C0-4B88-A16A-8D4222D42792}" destId="{076FE764-EFB2-4CCA-A2B9-B34483D9B850}" srcOrd="0" destOrd="0" presId="urn:microsoft.com/office/officeart/2005/8/layout/vList2"/>
    <dgm:cxn modelId="{E19F0606-4317-4103-8030-CC139A8E042E}" type="presParOf" srcId="{DA708F9D-D4C0-4B88-A16A-8D4222D42792}" destId="{4CC04AD1-E2E1-4F58-97A7-EE8F72B95588}" srcOrd="1" destOrd="0" presId="urn:microsoft.com/office/officeart/2005/8/layout/vList2"/>
    <dgm:cxn modelId="{93BC5B78-F475-495B-9A41-0749D4120427}" type="presParOf" srcId="{DA708F9D-D4C0-4B88-A16A-8D4222D42792}" destId="{AA6AB426-7ED9-4EDC-8238-20D76A8710DD}" srcOrd="2" destOrd="0" presId="urn:microsoft.com/office/officeart/2005/8/layout/vList2"/>
    <dgm:cxn modelId="{9AF78ABB-3907-4925-8DBE-69AB26F9164B}" type="presParOf" srcId="{DA708F9D-D4C0-4B88-A16A-8D4222D42792}" destId="{E9E377CF-33ED-4F79-B1CB-9910258DD5C5}" srcOrd="3" destOrd="0" presId="urn:microsoft.com/office/officeart/2005/8/layout/vList2"/>
    <dgm:cxn modelId="{6D81790F-21CC-4DA1-BA14-725A9B254D6B}" type="presParOf" srcId="{DA708F9D-D4C0-4B88-A16A-8D4222D42792}" destId="{E65CCEDE-8C32-4DBE-B065-7DCA0D429E00}" srcOrd="4" destOrd="0" presId="urn:microsoft.com/office/officeart/2005/8/layout/vList2"/>
    <dgm:cxn modelId="{32012CDD-22E5-4727-A0F6-005676DC643B}" type="presParOf" srcId="{DA708F9D-D4C0-4B88-A16A-8D4222D42792}" destId="{6FD9EA1F-D84D-4FB7-BD06-6611B41ACE7D}"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FC9CFEB-CF92-4DBE-9F53-588073271356}"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219D606C-8A5D-41F6-9330-8A9CBA1E0D56}">
      <dgm:prSet custT="1"/>
      <dgm:spPr/>
      <dgm:t>
        <a:bodyPr/>
        <a:lstStyle/>
        <a:p>
          <a:r>
            <a:rPr lang="en-US" sz="2400" baseline="0" dirty="0"/>
            <a:t>Disk Reads/sec, Writes/sec and Transfers/sec</a:t>
          </a:r>
          <a:endParaRPr lang="en-US" sz="2400" dirty="0"/>
        </a:p>
      </dgm:t>
    </dgm:pt>
    <dgm:pt modelId="{3C972163-CB22-449B-8E41-5B3C6C55ABD2}" type="parTrans" cxnId="{79EBB41B-28D3-473B-BE30-C22615290838}">
      <dgm:prSet/>
      <dgm:spPr/>
      <dgm:t>
        <a:bodyPr/>
        <a:lstStyle/>
        <a:p>
          <a:endParaRPr lang="en-US"/>
        </a:p>
      </dgm:t>
    </dgm:pt>
    <dgm:pt modelId="{34635185-9305-4B57-8CEC-B2BC9A963725}" type="sibTrans" cxnId="{79EBB41B-28D3-473B-BE30-C22615290838}">
      <dgm:prSet/>
      <dgm:spPr/>
      <dgm:t>
        <a:bodyPr/>
        <a:lstStyle/>
        <a:p>
          <a:endParaRPr lang="en-US"/>
        </a:p>
      </dgm:t>
    </dgm:pt>
    <dgm:pt modelId="{9CE4A6CA-FD92-4243-9220-0096B3814ACE}">
      <dgm:prSet custT="1"/>
      <dgm:spPr/>
      <dgm:t>
        <a:bodyPr/>
        <a:lstStyle/>
        <a:p>
          <a:r>
            <a:rPr lang="en-US" sz="2000" baseline="0" dirty="0"/>
            <a:t>Indicates the </a:t>
          </a:r>
          <a:r>
            <a:rPr lang="en-US" sz="2000" b="1" baseline="0" dirty="0"/>
            <a:t>IOPS</a:t>
          </a:r>
          <a:r>
            <a:rPr lang="en-US" sz="2000" baseline="0" dirty="0"/>
            <a:t> (</a:t>
          </a:r>
          <a:r>
            <a:rPr lang="en-US" sz="2000" baseline="0" dirty="0" err="1"/>
            <a:t>Input/Output</a:t>
          </a:r>
          <a:r>
            <a:rPr lang="en-US" sz="2000" baseline="0" dirty="0"/>
            <a:t> Operations Per Second) as perceived by the operating system. This value could differ from the hardware IOPS.</a:t>
          </a:r>
          <a:endParaRPr lang="en-US" sz="2000" dirty="0"/>
        </a:p>
      </dgm:t>
    </dgm:pt>
    <dgm:pt modelId="{587E8350-BBDB-49B6-AABB-90E65DFA82A8}" type="parTrans" cxnId="{A92F1610-35E7-4561-BCB7-183E14345B6B}">
      <dgm:prSet/>
      <dgm:spPr/>
      <dgm:t>
        <a:bodyPr/>
        <a:lstStyle/>
        <a:p>
          <a:endParaRPr lang="en-US"/>
        </a:p>
      </dgm:t>
    </dgm:pt>
    <dgm:pt modelId="{FEF0FDD8-80B0-40EF-AA66-28BCF3A16086}" type="sibTrans" cxnId="{A92F1610-35E7-4561-BCB7-183E14345B6B}">
      <dgm:prSet/>
      <dgm:spPr/>
      <dgm:t>
        <a:bodyPr/>
        <a:lstStyle/>
        <a:p>
          <a:endParaRPr lang="en-US"/>
        </a:p>
      </dgm:t>
    </dgm:pt>
    <dgm:pt modelId="{E15E63B7-0619-42F5-9E45-F69CA23A2068}">
      <dgm:prSet custT="1"/>
      <dgm:spPr/>
      <dgm:t>
        <a:bodyPr/>
        <a:lstStyle/>
        <a:p>
          <a:r>
            <a:rPr lang="en-US" sz="2400" baseline="0" dirty="0"/>
            <a:t>Avg. Disk sec/Read, and Avg. Disk sec/Write</a:t>
          </a:r>
          <a:endParaRPr lang="en-US" sz="2400" dirty="0"/>
        </a:p>
      </dgm:t>
    </dgm:pt>
    <dgm:pt modelId="{223458FB-8CF6-49C9-B3E9-70309F9E995C}" type="parTrans" cxnId="{92979C0A-B47B-4670-94B2-0175980B7AAE}">
      <dgm:prSet/>
      <dgm:spPr/>
      <dgm:t>
        <a:bodyPr/>
        <a:lstStyle/>
        <a:p>
          <a:endParaRPr lang="en-US"/>
        </a:p>
      </dgm:t>
    </dgm:pt>
    <dgm:pt modelId="{1A88760D-005F-414D-9C81-06C9D2019BAD}" type="sibTrans" cxnId="{92979C0A-B47B-4670-94B2-0175980B7AAE}">
      <dgm:prSet/>
      <dgm:spPr/>
      <dgm:t>
        <a:bodyPr/>
        <a:lstStyle/>
        <a:p>
          <a:endParaRPr lang="en-US"/>
        </a:p>
      </dgm:t>
    </dgm:pt>
    <dgm:pt modelId="{14F4F5AF-C230-4950-BC4C-D6A3D9EE08D2}">
      <dgm:prSet custT="1"/>
      <dgm:spPr/>
      <dgm:t>
        <a:bodyPr/>
        <a:lstStyle/>
        <a:p>
          <a:r>
            <a:rPr lang="en-US" sz="2000" baseline="0" dirty="0"/>
            <a:t>Used to measure IO latency</a:t>
          </a:r>
          <a:endParaRPr lang="en-US" sz="2000" dirty="0"/>
        </a:p>
      </dgm:t>
    </dgm:pt>
    <dgm:pt modelId="{54542450-7A75-4D8A-A76E-3778681ABF3A}" type="parTrans" cxnId="{14E632E7-66A7-44CD-930F-012FF8F92DDF}">
      <dgm:prSet/>
      <dgm:spPr/>
      <dgm:t>
        <a:bodyPr/>
        <a:lstStyle/>
        <a:p>
          <a:endParaRPr lang="en-US"/>
        </a:p>
      </dgm:t>
    </dgm:pt>
    <dgm:pt modelId="{EC3A35DA-62DD-48AC-8085-F33BEB5F269B}" type="sibTrans" cxnId="{14E632E7-66A7-44CD-930F-012FF8F92DDF}">
      <dgm:prSet/>
      <dgm:spPr/>
      <dgm:t>
        <a:bodyPr/>
        <a:lstStyle/>
        <a:p>
          <a:endParaRPr lang="en-US"/>
        </a:p>
      </dgm:t>
    </dgm:pt>
    <dgm:pt modelId="{8A917BC5-EADB-4983-A577-E1C7B6AEEDF2}">
      <dgm:prSet custT="1"/>
      <dgm:spPr/>
      <dgm:t>
        <a:bodyPr/>
        <a:lstStyle/>
        <a:p>
          <a:r>
            <a:rPr lang="en-US" sz="2000" baseline="0" dirty="0"/>
            <a:t>&lt; .005 excellent; .005 - .010 Good; .010 - .015 Fair; &gt; .015 investigate</a:t>
          </a:r>
          <a:endParaRPr lang="en-US" sz="2000" dirty="0"/>
        </a:p>
      </dgm:t>
    </dgm:pt>
    <dgm:pt modelId="{8BB89775-05A8-457C-91A2-586C4E12A745}" type="parTrans" cxnId="{EB14CEAC-4531-42AC-BF44-14CA876A8D66}">
      <dgm:prSet/>
      <dgm:spPr/>
      <dgm:t>
        <a:bodyPr/>
        <a:lstStyle/>
        <a:p>
          <a:endParaRPr lang="en-US"/>
        </a:p>
      </dgm:t>
    </dgm:pt>
    <dgm:pt modelId="{013F3F2C-4823-41C6-9219-0DC0082F8D35}" type="sibTrans" cxnId="{EB14CEAC-4531-42AC-BF44-14CA876A8D66}">
      <dgm:prSet/>
      <dgm:spPr/>
      <dgm:t>
        <a:bodyPr/>
        <a:lstStyle/>
        <a:p>
          <a:endParaRPr lang="en-US"/>
        </a:p>
      </dgm:t>
    </dgm:pt>
    <dgm:pt modelId="{6014365B-3EC5-4AE7-AB22-D8F475457979}" type="pres">
      <dgm:prSet presAssocID="{DFC9CFEB-CF92-4DBE-9F53-588073271356}" presName="linear" presStyleCnt="0">
        <dgm:presLayoutVars>
          <dgm:animLvl val="lvl"/>
          <dgm:resizeHandles val="exact"/>
        </dgm:presLayoutVars>
      </dgm:prSet>
      <dgm:spPr/>
    </dgm:pt>
    <dgm:pt modelId="{1D3B8176-FE73-455E-A408-4ED82BDA8BB7}" type="pres">
      <dgm:prSet presAssocID="{219D606C-8A5D-41F6-9330-8A9CBA1E0D56}" presName="parentText" presStyleLbl="node1" presStyleIdx="0" presStyleCnt="2">
        <dgm:presLayoutVars>
          <dgm:chMax val="0"/>
          <dgm:bulletEnabled val="1"/>
        </dgm:presLayoutVars>
      </dgm:prSet>
      <dgm:spPr/>
    </dgm:pt>
    <dgm:pt modelId="{CB549A76-B9B1-4079-826D-F762A043CE42}" type="pres">
      <dgm:prSet presAssocID="{219D606C-8A5D-41F6-9330-8A9CBA1E0D56}" presName="childText" presStyleLbl="revTx" presStyleIdx="0" presStyleCnt="2">
        <dgm:presLayoutVars>
          <dgm:bulletEnabled val="1"/>
        </dgm:presLayoutVars>
      </dgm:prSet>
      <dgm:spPr/>
    </dgm:pt>
    <dgm:pt modelId="{F60453CE-C2DA-44AB-9366-D722DC8CC85B}" type="pres">
      <dgm:prSet presAssocID="{E15E63B7-0619-42F5-9E45-F69CA23A2068}" presName="parentText" presStyleLbl="node1" presStyleIdx="1" presStyleCnt="2">
        <dgm:presLayoutVars>
          <dgm:chMax val="0"/>
          <dgm:bulletEnabled val="1"/>
        </dgm:presLayoutVars>
      </dgm:prSet>
      <dgm:spPr/>
    </dgm:pt>
    <dgm:pt modelId="{33B71304-C9AF-49A0-A89B-DB7438B7BACF}" type="pres">
      <dgm:prSet presAssocID="{E15E63B7-0619-42F5-9E45-F69CA23A2068}" presName="childText" presStyleLbl="revTx" presStyleIdx="1" presStyleCnt="2">
        <dgm:presLayoutVars>
          <dgm:bulletEnabled val="1"/>
        </dgm:presLayoutVars>
      </dgm:prSet>
      <dgm:spPr/>
    </dgm:pt>
  </dgm:ptLst>
  <dgm:cxnLst>
    <dgm:cxn modelId="{110D6107-0404-46CC-A44A-E872AE11F59B}" type="presOf" srcId="{E15E63B7-0619-42F5-9E45-F69CA23A2068}" destId="{F60453CE-C2DA-44AB-9366-D722DC8CC85B}" srcOrd="0" destOrd="0" presId="urn:microsoft.com/office/officeart/2005/8/layout/vList2"/>
    <dgm:cxn modelId="{92979C0A-B47B-4670-94B2-0175980B7AAE}" srcId="{DFC9CFEB-CF92-4DBE-9F53-588073271356}" destId="{E15E63B7-0619-42F5-9E45-F69CA23A2068}" srcOrd="1" destOrd="0" parTransId="{223458FB-8CF6-49C9-B3E9-70309F9E995C}" sibTransId="{1A88760D-005F-414D-9C81-06C9D2019BAD}"/>
    <dgm:cxn modelId="{A92F1610-35E7-4561-BCB7-183E14345B6B}" srcId="{219D606C-8A5D-41F6-9330-8A9CBA1E0D56}" destId="{9CE4A6CA-FD92-4243-9220-0096B3814ACE}" srcOrd="0" destOrd="0" parTransId="{587E8350-BBDB-49B6-AABB-90E65DFA82A8}" sibTransId="{FEF0FDD8-80B0-40EF-AA66-28BCF3A16086}"/>
    <dgm:cxn modelId="{79EBB41B-28D3-473B-BE30-C22615290838}" srcId="{DFC9CFEB-CF92-4DBE-9F53-588073271356}" destId="{219D606C-8A5D-41F6-9330-8A9CBA1E0D56}" srcOrd="0" destOrd="0" parTransId="{3C972163-CB22-449B-8E41-5B3C6C55ABD2}" sibTransId="{34635185-9305-4B57-8CEC-B2BC9A963725}"/>
    <dgm:cxn modelId="{A48E145F-4259-4C73-B646-1F8FFAA463E3}" type="presOf" srcId="{219D606C-8A5D-41F6-9330-8A9CBA1E0D56}" destId="{1D3B8176-FE73-455E-A408-4ED82BDA8BB7}" srcOrd="0" destOrd="0" presId="urn:microsoft.com/office/officeart/2005/8/layout/vList2"/>
    <dgm:cxn modelId="{4314C446-BF89-47CA-944F-1086B84C021D}" type="presOf" srcId="{8A917BC5-EADB-4983-A577-E1C7B6AEEDF2}" destId="{33B71304-C9AF-49A0-A89B-DB7438B7BACF}" srcOrd="0" destOrd="1" presId="urn:microsoft.com/office/officeart/2005/8/layout/vList2"/>
    <dgm:cxn modelId="{2E7B3680-D9FA-4A39-8193-928E6E786A9C}" type="presOf" srcId="{9CE4A6CA-FD92-4243-9220-0096B3814ACE}" destId="{CB549A76-B9B1-4079-826D-F762A043CE42}" srcOrd="0" destOrd="0" presId="urn:microsoft.com/office/officeart/2005/8/layout/vList2"/>
    <dgm:cxn modelId="{EB14CEAC-4531-42AC-BF44-14CA876A8D66}" srcId="{E15E63B7-0619-42F5-9E45-F69CA23A2068}" destId="{8A917BC5-EADB-4983-A577-E1C7B6AEEDF2}" srcOrd="1" destOrd="0" parTransId="{8BB89775-05A8-457C-91A2-586C4E12A745}" sibTransId="{013F3F2C-4823-41C6-9219-0DC0082F8D35}"/>
    <dgm:cxn modelId="{A84F4BB6-5C49-4CD4-BD1F-E29370FD09E8}" type="presOf" srcId="{DFC9CFEB-CF92-4DBE-9F53-588073271356}" destId="{6014365B-3EC5-4AE7-AB22-D8F475457979}" srcOrd="0" destOrd="0" presId="urn:microsoft.com/office/officeart/2005/8/layout/vList2"/>
    <dgm:cxn modelId="{6D1FA3CD-12A0-4578-B533-86BF7CC3F581}" type="presOf" srcId="{14F4F5AF-C230-4950-BC4C-D6A3D9EE08D2}" destId="{33B71304-C9AF-49A0-A89B-DB7438B7BACF}" srcOrd="0" destOrd="0" presId="urn:microsoft.com/office/officeart/2005/8/layout/vList2"/>
    <dgm:cxn modelId="{14E632E7-66A7-44CD-930F-012FF8F92DDF}" srcId="{E15E63B7-0619-42F5-9E45-F69CA23A2068}" destId="{14F4F5AF-C230-4950-BC4C-D6A3D9EE08D2}" srcOrd="0" destOrd="0" parTransId="{54542450-7A75-4D8A-A76E-3778681ABF3A}" sibTransId="{EC3A35DA-62DD-48AC-8085-F33BEB5F269B}"/>
    <dgm:cxn modelId="{8DAA3055-73A7-4CF1-924C-AAC169FA065E}" type="presParOf" srcId="{6014365B-3EC5-4AE7-AB22-D8F475457979}" destId="{1D3B8176-FE73-455E-A408-4ED82BDA8BB7}" srcOrd="0" destOrd="0" presId="urn:microsoft.com/office/officeart/2005/8/layout/vList2"/>
    <dgm:cxn modelId="{7B40C915-76F6-406A-A8D0-1E7EC692750B}" type="presParOf" srcId="{6014365B-3EC5-4AE7-AB22-D8F475457979}" destId="{CB549A76-B9B1-4079-826D-F762A043CE42}" srcOrd="1" destOrd="0" presId="urn:microsoft.com/office/officeart/2005/8/layout/vList2"/>
    <dgm:cxn modelId="{C6C8FF26-B8A2-4E2B-AD82-4977FE6842E5}" type="presParOf" srcId="{6014365B-3EC5-4AE7-AB22-D8F475457979}" destId="{F60453CE-C2DA-44AB-9366-D722DC8CC85B}" srcOrd="2" destOrd="0" presId="urn:microsoft.com/office/officeart/2005/8/layout/vList2"/>
    <dgm:cxn modelId="{5D701FA2-D125-4658-A462-C65F182A4050}" type="presParOf" srcId="{6014365B-3EC5-4AE7-AB22-D8F475457979}" destId="{33B71304-C9AF-49A0-A89B-DB7438B7BACF}"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recommended tool to measure disk latency? </a:t>
          </a:r>
        </a:p>
      </dgm:t>
    </dgm:pt>
    <dgm:pt modelId="{74BFB16A-6DC3-47DD-AE97-F15F596B23DF}" type="parTrans" cxnId="{4BB646B5-2A6D-439D-A88F-AC928930541F}">
      <dgm:prSet/>
      <dgm:spPr/>
      <dgm:t>
        <a:bodyPr/>
        <a:lstStyle/>
        <a:p>
          <a:endParaRPr lang="en-US" sz="1600"/>
        </a:p>
      </dgm:t>
    </dgm:pt>
    <dgm:pt modelId="{CAE4D9F8-FDBB-4525-9125-6BAF56328FCE}" type="sibTrans" cxnId="{4BB646B5-2A6D-439D-A88F-AC928930541F}">
      <dgm:prSet/>
      <dgm:spPr/>
      <dgm:t>
        <a:bodyPr/>
        <a:lstStyle/>
        <a:p>
          <a:endParaRPr lang="en-US" sz="1600"/>
        </a:p>
      </dgm:t>
    </dgm:pt>
    <dgm:pt modelId="{418CC07E-60A8-4964-8F8D-DE5072ACF3AE}">
      <dgm:prSet custT="1"/>
      <dgm:spPr/>
      <dgm:t>
        <a:bodyPr/>
        <a:lstStyle/>
        <a:p>
          <a:r>
            <a:rPr lang="en-US" sz="2400" dirty="0"/>
            <a:t>What DMV/DMF is used to identify pending IO requests?</a:t>
          </a:r>
        </a:p>
      </dgm:t>
    </dgm:pt>
    <dgm:pt modelId="{71830CAB-A849-43AF-B52F-0AA1356AE93A}" type="parTrans" cxnId="{F2229882-6A6F-462F-BD41-A3383DD8D81A}">
      <dgm:prSet/>
      <dgm:spPr/>
      <dgm:t>
        <a:bodyPr/>
        <a:lstStyle/>
        <a:p>
          <a:endParaRPr lang="en-US" sz="1600"/>
        </a:p>
      </dgm:t>
    </dgm:pt>
    <dgm:pt modelId="{83A99661-D9FA-4C77-A79E-390DBD588621}" type="sibTrans" cxnId="{F2229882-6A6F-462F-BD41-A3383DD8D81A}">
      <dgm:prSet/>
      <dgm:spPr/>
      <dgm:t>
        <a:bodyPr/>
        <a:lstStyle/>
        <a:p>
          <a:endParaRPr lang="en-US" sz="1600"/>
        </a:p>
      </dgm:t>
    </dgm:pt>
    <dgm:pt modelId="{969344F5-F410-4C65-B866-8B5CFEF8952C}">
      <dgm:prSet custT="1"/>
      <dgm:spPr/>
      <dgm:t>
        <a:bodyPr/>
        <a:lstStyle/>
        <a:p>
          <a:r>
            <a:rPr lang="en-US" sz="2400" dirty="0"/>
            <a:t>What are the notable wait types for disk I/O?</a:t>
          </a:r>
        </a:p>
      </dgm:t>
    </dgm:pt>
    <dgm:pt modelId="{6552ED4C-8EEE-48D3-938A-3E57ACB10186}" type="parTrans" cxnId="{5520C54B-61A7-49C1-9692-F710B713EB41}">
      <dgm:prSet/>
      <dgm:spPr/>
      <dgm:t>
        <a:bodyPr/>
        <a:lstStyle/>
        <a:p>
          <a:endParaRPr lang="en-US" sz="1600"/>
        </a:p>
      </dgm:t>
    </dgm:pt>
    <dgm:pt modelId="{A1F4F9C5-DA92-4DF6-914E-99120A40DCE0}" type="sibTrans" cxnId="{5520C54B-61A7-49C1-9692-F710B713EB41}">
      <dgm:prSet/>
      <dgm:spPr/>
      <dgm:t>
        <a:bodyPr/>
        <a:lstStyle/>
        <a:p>
          <a:endParaRPr lang="en-US" sz="16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AA288B6-F025-4112-B1E4-9213B1C766FE}"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FFBD2AE9-2FB2-4D8A-ADAD-61DAA6A4D0BC}">
      <dgm:prSet/>
      <dgm:spPr>
        <a:xfrm>
          <a:off x="0" y="238739"/>
          <a:ext cx="7010400" cy="1212120"/>
        </a:xfrm>
      </dgm:spPr>
      <dgm:t>
        <a:bodyPr/>
        <a:lstStyle/>
        <a:p>
          <a:r>
            <a:rPr lang="en-US" baseline="0" dirty="0">
              <a:latin typeface="Segoe UI"/>
              <a:ea typeface="+mn-ea"/>
              <a:cs typeface="+mn-cs"/>
            </a:rPr>
            <a:t>PFS and IAM are used to determine when an object needs a new extent allocated</a:t>
          </a:r>
          <a:endParaRPr lang="en-US" dirty="0">
            <a:latin typeface="Segoe UI"/>
            <a:ea typeface="+mn-ea"/>
            <a:cs typeface="+mn-cs"/>
          </a:endParaRPr>
        </a:p>
      </dgm:t>
    </dgm:pt>
    <dgm:pt modelId="{FBAD97CF-A32E-4A83-AC0B-FC430F3E1D39}" type="parTrans" cxnId="{4CD7ED88-D963-439F-8176-3523DB423947}">
      <dgm:prSet/>
      <dgm:spPr/>
      <dgm:t>
        <a:bodyPr/>
        <a:lstStyle/>
        <a:p>
          <a:endParaRPr lang="en-US"/>
        </a:p>
      </dgm:t>
    </dgm:pt>
    <dgm:pt modelId="{43D0085A-223F-48BA-9873-F48D082C2FCA}" type="sibTrans" cxnId="{4CD7ED88-D963-439F-8176-3523DB423947}">
      <dgm:prSet/>
      <dgm:spPr/>
      <dgm:t>
        <a:bodyPr/>
        <a:lstStyle/>
        <a:p>
          <a:endParaRPr lang="en-US"/>
        </a:p>
      </dgm:t>
    </dgm:pt>
    <dgm:pt modelId="{530C52B2-E8CE-465A-BDBE-4E35A9259CB8}">
      <dgm:prSet/>
      <dgm:spPr>
        <a:xfrm>
          <a:off x="0" y="1531500"/>
          <a:ext cx="7010400" cy="1212120"/>
        </a:xfrm>
      </dgm:spPr>
      <dgm:t>
        <a:bodyPr/>
        <a:lstStyle/>
        <a:p>
          <a:r>
            <a:rPr lang="en-US" baseline="0" dirty="0">
              <a:latin typeface="Segoe UI"/>
              <a:ea typeface="+mn-ea"/>
              <a:cs typeface="+mn-cs"/>
            </a:rPr>
            <a:t>GAMs and SGAMs are used to allocate the extent</a:t>
          </a:r>
          <a:endParaRPr lang="en-US" dirty="0">
            <a:latin typeface="Segoe UI"/>
            <a:ea typeface="+mn-ea"/>
            <a:cs typeface="+mn-cs"/>
          </a:endParaRPr>
        </a:p>
      </dgm:t>
    </dgm:pt>
    <dgm:pt modelId="{9C626B18-E115-4918-B4AF-105EFE7C0D3F}" type="parTrans" cxnId="{F5ACBDCC-B386-4646-896E-D47CB377DB4D}">
      <dgm:prSet/>
      <dgm:spPr/>
      <dgm:t>
        <a:bodyPr/>
        <a:lstStyle/>
        <a:p>
          <a:endParaRPr lang="en-US"/>
        </a:p>
      </dgm:t>
    </dgm:pt>
    <dgm:pt modelId="{16567E35-76A9-4660-9452-976CC20D4778}" type="sibTrans" cxnId="{F5ACBDCC-B386-4646-896E-D47CB377DB4D}">
      <dgm:prSet/>
      <dgm:spPr/>
      <dgm:t>
        <a:bodyPr/>
        <a:lstStyle/>
        <a:p>
          <a:endParaRPr lang="en-US"/>
        </a:p>
      </dgm:t>
    </dgm:pt>
    <dgm:pt modelId="{859C94D3-9667-4A59-8D15-F543AFE106FD}" type="pres">
      <dgm:prSet presAssocID="{1AA288B6-F025-4112-B1E4-9213B1C766FE}" presName="diagram" presStyleCnt="0">
        <dgm:presLayoutVars>
          <dgm:dir/>
          <dgm:resizeHandles val="exact"/>
        </dgm:presLayoutVars>
      </dgm:prSet>
      <dgm:spPr/>
    </dgm:pt>
    <dgm:pt modelId="{F9D81896-5617-4CC3-8571-40FC75A78D98}" type="pres">
      <dgm:prSet presAssocID="{FFBD2AE9-2FB2-4D8A-ADAD-61DAA6A4D0BC}" presName="node" presStyleLbl="node1" presStyleIdx="0" presStyleCnt="2">
        <dgm:presLayoutVars>
          <dgm:bulletEnabled val="1"/>
        </dgm:presLayoutVars>
      </dgm:prSet>
      <dgm:spPr>
        <a:prstGeom prst="roundRect">
          <a:avLst/>
        </a:prstGeom>
      </dgm:spPr>
    </dgm:pt>
    <dgm:pt modelId="{E34C307D-9544-4845-BD09-76E84AFFD872}" type="pres">
      <dgm:prSet presAssocID="{43D0085A-223F-48BA-9873-F48D082C2FCA}" presName="sibTrans" presStyleCnt="0"/>
      <dgm:spPr/>
    </dgm:pt>
    <dgm:pt modelId="{E7D5672E-1078-4242-B34A-3CB1D3C8E10B}" type="pres">
      <dgm:prSet presAssocID="{530C52B2-E8CE-465A-BDBE-4E35A9259CB8}" presName="node" presStyleLbl="node1" presStyleIdx="1" presStyleCnt="2">
        <dgm:presLayoutVars>
          <dgm:bulletEnabled val="1"/>
        </dgm:presLayoutVars>
      </dgm:prSet>
      <dgm:spPr>
        <a:prstGeom prst="roundRect">
          <a:avLst/>
        </a:prstGeom>
      </dgm:spPr>
    </dgm:pt>
  </dgm:ptLst>
  <dgm:cxnLst>
    <dgm:cxn modelId="{6AD6DD6E-6933-4CEA-921F-096634F8DF90}" type="presOf" srcId="{1AA288B6-F025-4112-B1E4-9213B1C766FE}" destId="{859C94D3-9667-4A59-8D15-F543AFE106FD}" srcOrd="0" destOrd="0" presId="urn:microsoft.com/office/officeart/2005/8/layout/default"/>
    <dgm:cxn modelId="{4CD7ED88-D963-439F-8176-3523DB423947}" srcId="{1AA288B6-F025-4112-B1E4-9213B1C766FE}" destId="{FFBD2AE9-2FB2-4D8A-ADAD-61DAA6A4D0BC}" srcOrd="0" destOrd="0" parTransId="{FBAD97CF-A32E-4A83-AC0B-FC430F3E1D39}" sibTransId="{43D0085A-223F-48BA-9873-F48D082C2FCA}"/>
    <dgm:cxn modelId="{8EB8B5AD-D541-49A7-9537-A2DAF040C2FC}" type="presOf" srcId="{FFBD2AE9-2FB2-4D8A-ADAD-61DAA6A4D0BC}" destId="{F9D81896-5617-4CC3-8571-40FC75A78D98}" srcOrd="0" destOrd="0" presId="urn:microsoft.com/office/officeart/2005/8/layout/default"/>
    <dgm:cxn modelId="{F5ACBDCC-B386-4646-896E-D47CB377DB4D}" srcId="{1AA288B6-F025-4112-B1E4-9213B1C766FE}" destId="{530C52B2-E8CE-465A-BDBE-4E35A9259CB8}" srcOrd="1" destOrd="0" parTransId="{9C626B18-E115-4918-B4AF-105EFE7C0D3F}" sibTransId="{16567E35-76A9-4660-9452-976CC20D4778}"/>
    <dgm:cxn modelId="{551EC8FE-31E0-4256-B333-DC7CF5309F1A}" type="presOf" srcId="{530C52B2-E8CE-465A-BDBE-4E35A9259CB8}" destId="{E7D5672E-1078-4242-B34A-3CB1D3C8E10B}" srcOrd="0" destOrd="0" presId="urn:microsoft.com/office/officeart/2005/8/layout/default"/>
    <dgm:cxn modelId="{6AB3AD41-BA9B-43AB-BE46-D49BDEB2ED6B}" type="presParOf" srcId="{859C94D3-9667-4A59-8D15-F543AFE106FD}" destId="{F9D81896-5617-4CC3-8571-40FC75A78D98}" srcOrd="0" destOrd="0" presId="urn:microsoft.com/office/officeart/2005/8/layout/default"/>
    <dgm:cxn modelId="{3BACCF81-0655-4DD1-874E-56FA5C27105E}" type="presParOf" srcId="{859C94D3-9667-4A59-8D15-F543AFE106FD}" destId="{E34C307D-9544-4845-BD09-76E84AFFD872}" srcOrd="1" destOrd="0" presId="urn:microsoft.com/office/officeart/2005/8/layout/default"/>
    <dgm:cxn modelId="{8C8FECE6-1721-46FA-879B-3F111D5B0504}" type="presParOf" srcId="{859C94D3-9667-4A59-8D15-F543AFE106FD}" destId="{E7D5672E-1078-4242-B34A-3CB1D3C8E10B}"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C27B579-201C-453D-AD79-EE550645F001}"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494204D9-D84F-4879-AD13-AE7C35A4F483}">
      <dgm:prSet custT="1"/>
      <dgm:spPr/>
      <dgm:t>
        <a:bodyPr/>
        <a:lstStyle/>
        <a:p>
          <a:r>
            <a:rPr lang="en-US" sz="1800" baseline="0" dirty="0"/>
            <a:t>Page Free Space (PFS)</a:t>
          </a:r>
          <a:endParaRPr lang="en-US" sz="1800" dirty="0"/>
        </a:p>
      </dgm:t>
    </dgm:pt>
    <dgm:pt modelId="{11198DCD-E631-4B79-870C-78DB06D25631}" type="parTrans" cxnId="{385A0481-3D2B-4860-B699-40C25CC2F831}">
      <dgm:prSet/>
      <dgm:spPr/>
      <dgm:t>
        <a:bodyPr/>
        <a:lstStyle/>
        <a:p>
          <a:endParaRPr lang="en-US"/>
        </a:p>
      </dgm:t>
    </dgm:pt>
    <dgm:pt modelId="{B9B56087-FA8F-4471-AF9E-BDCDA76E229D}" type="sibTrans" cxnId="{385A0481-3D2B-4860-B699-40C25CC2F831}">
      <dgm:prSet/>
      <dgm:spPr/>
      <dgm:t>
        <a:bodyPr/>
        <a:lstStyle/>
        <a:p>
          <a:endParaRPr lang="en-US"/>
        </a:p>
      </dgm:t>
    </dgm:pt>
    <dgm:pt modelId="{EBE58DEA-5DAB-4106-9B99-DD165D918FEC}">
      <dgm:prSet/>
      <dgm:spPr/>
      <dgm:t>
        <a:bodyPr/>
        <a:lstStyle/>
        <a:p>
          <a:r>
            <a:rPr lang="en-US" baseline="0" dirty="0"/>
            <a:t>Tracks free space on a page uses 1 Byte/Page</a:t>
          </a:r>
          <a:endParaRPr lang="en-US" dirty="0"/>
        </a:p>
      </dgm:t>
    </dgm:pt>
    <dgm:pt modelId="{1ADE4576-AFCF-486B-A35E-6753E221CC49}" type="parTrans" cxnId="{8DE5C0E1-4682-4FF6-8070-240C66D85CC1}">
      <dgm:prSet/>
      <dgm:spPr/>
      <dgm:t>
        <a:bodyPr/>
        <a:lstStyle/>
        <a:p>
          <a:endParaRPr lang="en-US"/>
        </a:p>
      </dgm:t>
    </dgm:pt>
    <dgm:pt modelId="{2F4BA0BE-A199-4458-BF57-95932665C955}" type="sibTrans" cxnId="{8DE5C0E1-4682-4FF6-8070-240C66D85CC1}">
      <dgm:prSet/>
      <dgm:spPr/>
      <dgm:t>
        <a:bodyPr/>
        <a:lstStyle/>
        <a:p>
          <a:endParaRPr lang="en-US"/>
        </a:p>
      </dgm:t>
    </dgm:pt>
    <dgm:pt modelId="{F02CD790-47A8-41C9-8D96-248B3365BC8F}">
      <dgm:prSet/>
      <dgm:spPr/>
      <dgm:t>
        <a:bodyPr/>
        <a:lstStyle/>
        <a:p>
          <a:r>
            <a:rPr lang="en-US" baseline="0" dirty="0"/>
            <a:t>Covers 64 MB worth of pages</a:t>
          </a:r>
          <a:endParaRPr lang="en-US" dirty="0"/>
        </a:p>
      </dgm:t>
    </dgm:pt>
    <dgm:pt modelId="{F3DCA3C6-3B97-4D5F-8EB9-C898ED60269C}" type="parTrans" cxnId="{07261DAA-00C9-40A2-8015-36D6DDBF1861}">
      <dgm:prSet/>
      <dgm:spPr/>
      <dgm:t>
        <a:bodyPr/>
        <a:lstStyle/>
        <a:p>
          <a:endParaRPr lang="en-US"/>
        </a:p>
      </dgm:t>
    </dgm:pt>
    <dgm:pt modelId="{C4708D95-2614-48C4-83E0-75DBA53CF2B7}" type="sibTrans" cxnId="{07261DAA-00C9-40A2-8015-36D6DDBF1861}">
      <dgm:prSet/>
      <dgm:spPr/>
      <dgm:t>
        <a:bodyPr/>
        <a:lstStyle/>
        <a:p>
          <a:endParaRPr lang="en-US"/>
        </a:p>
      </dgm:t>
    </dgm:pt>
    <dgm:pt modelId="{4DD25A31-B209-4671-8C64-156B8B96974D}">
      <dgm:prSet custT="1"/>
      <dgm:spPr/>
      <dgm:t>
        <a:bodyPr/>
        <a:lstStyle/>
        <a:p>
          <a:r>
            <a:rPr lang="en-US" sz="1800" baseline="0" dirty="0"/>
            <a:t>Global Allocation Map (GAM)</a:t>
          </a:r>
          <a:endParaRPr lang="en-US" sz="1800" dirty="0"/>
        </a:p>
      </dgm:t>
    </dgm:pt>
    <dgm:pt modelId="{6E2AE1B6-5E54-414D-BD85-9366B973A802}" type="parTrans" cxnId="{7ACA844D-6485-4E7E-A3C5-64F8BBB09378}">
      <dgm:prSet/>
      <dgm:spPr/>
      <dgm:t>
        <a:bodyPr/>
        <a:lstStyle/>
        <a:p>
          <a:endParaRPr lang="en-US"/>
        </a:p>
      </dgm:t>
    </dgm:pt>
    <dgm:pt modelId="{CF8820BE-AF48-4612-9B2D-7A4F8D819909}" type="sibTrans" cxnId="{7ACA844D-6485-4E7E-A3C5-64F8BBB09378}">
      <dgm:prSet/>
      <dgm:spPr/>
      <dgm:t>
        <a:bodyPr/>
        <a:lstStyle/>
        <a:p>
          <a:endParaRPr lang="en-US"/>
        </a:p>
      </dgm:t>
    </dgm:pt>
    <dgm:pt modelId="{0EC3B0F7-71C9-4B09-88A1-E41EEB4EA8E1}">
      <dgm:prSet/>
      <dgm:spPr/>
      <dgm:t>
        <a:bodyPr/>
        <a:lstStyle/>
        <a:p>
          <a:r>
            <a:rPr lang="en-US" baseline="0" dirty="0"/>
            <a:t>Tracks Uniform extents that have been allocated</a:t>
          </a:r>
          <a:br>
            <a:rPr lang="en-US" baseline="0" dirty="0"/>
          </a:br>
          <a:r>
            <a:rPr lang="en-US" baseline="0" dirty="0"/>
            <a:t>uses 1 Bit/extent</a:t>
          </a:r>
          <a:endParaRPr lang="en-US" dirty="0"/>
        </a:p>
      </dgm:t>
    </dgm:pt>
    <dgm:pt modelId="{6DB4C0AE-5C26-468A-8C18-591B85DB266F}" type="parTrans" cxnId="{3CCFAFB8-641B-4E46-86B2-926161CB3F00}">
      <dgm:prSet/>
      <dgm:spPr/>
      <dgm:t>
        <a:bodyPr/>
        <a:lstStyle/>
        <a:p>
          <a:endParaRPr lang="en-US"/>
        </a:p>
      </dgm:t>
    </dgm:pt>
    <dgm:pt modelId="{528D9AA5-8FC1-4E9D-87B0-23774CB89E5F}" type="sibTrans" cxnId="{3CCFAFB8-641B-4E46-86B2-926161CB3F00}">
      <dgm:prSet/>
      <dgm:spPr/>
      <dgm:t>
        <a:bodyPr/>
        <a:lstStyle/>
        <a:p>
          <a:endParaRPr lang="en-US"/>
        </a:p>
      </dgm:t>
    </dgm:pt>
    <dgm:pt modelId="{7B3466DB-7B4E-4F68-ADF9-8FD5F463B8C4}">
      <dgm:prSet/>
      <dgm:spPr/>
      <dgm:t>
        <a:bodyPr/>
        <a:lstStyle/>
        <a:p>
          <a:r>
            <a:rPr lang="en-US" baseline="0" dirty="0"/>
            <a:t>Covers 64,000 extents (4 GB worth of data)</a:t>
          </a:r>
          <a:endParaRPr lang="en-US" dirty="0"/>
        </a:p>
      </dgm:t>
    </dgm:pt>
    <dgm:pt modelId="{EF26FDF6-79C2-470F-BCC1-160BC2B7A150}" type="parTrans" cxnId="{5E7E890A-02C8-4475-8670-4D4F47E63F53}">
      <dgm:prSet/>
      <dgm:spPr/>
      <dgm:t>
        <a:bodyPr/>
        <a:lstStyle/>
        <a:p>
          <a:endParaRPr lang="en-US"/>
        </a:p>
      </dgm:t>
    </dgm:pt>
    <dgm:pt modelId="{307A13C2-0B5F-4BCD-8F73-77E458082746}" type="sibTrans" cxnId="{5E7E890A-02C8-4475-8670-4D4F47E63F53}">
      <dgm:prSet/>
      <dgm:spPr/>
      <dgm:t>
        <a:bodyPr/>
        <a:lstStyle/>
        <a:p>
          <a:endParaRPr lang="en-US"/>
        </a:p>
      </dgm:t>
    </dgm:pt>
    <dgm:pt modelId="{173E91BA-4B1F-4368-A8D8-D8EAE605760C}">
      <dgm:prSet custT="1"/>
      <dgm:spPr/>
      <dgm:t>
        <a:bodyPr/>
        <a:lstStyle/>
        <a:p>
          <a:r>
            <a:rPr lang="en-US" sz="1800" baseline="0" dirty="0"/>
            <a:t>Shared Global Allocation Map (SGAM)</a:t>
          </a:r>
          <a:endParaRPr lang="en-US" sz="1800" dirty="0"/>
        </a:p>
      </dgm:t>
    </dgm:pt>
    <dgm:pt modelId="{98C94F74-0EAE-48B3-9EE4-DB6FAA52C721}" type="parTrans" cxnId="{CEB1DA61-B7AA-4E15-9DFE-CA163CF31DBA}">
      <dgm:prSet/>
      <dgm:spPr/>
      <dgm:t>
        <a:bodyPr/>
        <a:lstStyle/>
        <a:p>
          <a:endParaRPr lang="en-US"/>
        </a:p>
      </dgm:t>
    </dgm:pt>
    <dgm:pt modelId="{6D5A1626-3362-4EB1-80F6-C0EDE9BC0EC8}" type="sibTrans" cxnId="{CEB1DA61-B7AA-4E15-9DFE-CA163CF31DBA}">
      <dgm:prSet/>
      <dgm:spPr/>
      <dgm:t>
        <a:bodyPr/>
        <a:lstStyle/>
        <a:p>
          <a:endParaRPr lang="en-US"/>
        </a:p>
      </dgm:t>
    </dgm:pt>
    <dgm:pt modelId="{A1575CC9-AE14-4410-B48F-41C89E23D6D2}">
      <dgm:prSet/>
      <dgm:spPr/>
      <dgm:t>
        <a:bodyPr/>
        <a:lstStyle/>
        <a:p>
          <a:r>
            <a:rPr lang="en-US" baseline="0" dirty="0"/>
            <a:t>Tracks Mixed extents that have all 8 pages allocated</a:t>
          </a:r>
          <a:br>
            <a:rPr lang="en-US" baseline="0" dirty="0"/>
          </a:br>
          <a:r>
            <a:rPr lang="en-US" baseline="0" dirty="0"/>
            <a:t>uses 1 Bit/extent</a:t>
          </a:r>
          <a:endParaRPr lang="en-US" dirty="0"/>
        </a:p>
      </dgm:t>
    </dgm:pt>
    <dgm:pt modelId="{EB4A0B4F-1987-4E0B-B8B1-8854E991832D}" type="parTrans" cxnId="{44B87886-7ED3-4EBD-AB6E-5CB705B818FC}">
      <dgm:prSet/>
      <dgm:spPr/>
      <dgm:t>
        <a:bodyPr/>
        <a:lstStyle/>
        <a:p>
          <a:endParaRPr lang="en-US"/>
        </a:p>
      </dgm:t>
    </dgm:pt>
    <dgm:pt modelId="{AD43642F-643B-4BA6-A187-E44FD999E990}" type="sibTrans" cxnId="{44B87886-7ED3-4EBD-AB6E-5CB705B818FC}">
      <dgm:prSet/>
      <dgm:spPr/>
      <dgm:t>
        <a:bodyPr/>
        <a:lstStyle/>
        <a:p>
          <a:endParaRPr lang="en-US"/>
        </a:p>
      </dgm:t>
    </dgm:pt>
    <dgm:pt modelId="{A4127F4F-F527-45B3-8609-B21D814D0051}">
      <dgm:prSet/>
      <dgm:spPr/>
      <dgm:t>
        <a:bodyPr/>
        <a:lstStyle/>
        <a:p>
          <a:r>
            <a:rPr lang="en-US" baseline="0" dirty="0"/>
            <a:t>Covers 64,000 extents (4 GB worth of data)</a:t>
          </a:r>
          <a:endParaRPr lang="en-US" dirty="0"/>
        </a:p>
      </dgm:t>
    </dgm:pt>
    <dgm:pt modelId="{3CC6D229-5DDC-4C59-9114-12440771D0B7}" type="parTrans" cxnId="{D20E1D56-9F1C-4433-9732-1CBC8927D5F3}">
      <dgm:prSet/>
      <dgm:spPr/>
      <dgm:t>
        <a:bodyPr/>
        <a:lstStyle/>
        <a:p>
          <a:endParaRPr lang="en-US"/>
        </a:p>
      </dgm:t>
    </dgm:pt>
    <dgm:pt modelId="{B003CDC2-FE9A-4E1B-8FCA-28DBDAA888F8}" type="sibTrans" cxnId="{D20E1D56-9F1C-4433-9732-1CBC8927D5F3}">
      <dgm:prSet/>
      <dgm:spPr/>
      <dgm:t>
        <a:bodyPr/>
        <a:lstStyle/>
        <a:p>
          <a:endParaRPr lang="en-US"/>
        </a:p>
      </dgm:t>
    </dgm:pt>
    <dgm:pt modelId="{ED3C308D-8798-4F2C-ADBD-36A347D93FF9}">
      <dgm:prSet custT="1"/>
      <dgm:spPr/>
      <dgm:t>
        <a:bodyPr/>
        <a:lstStyle/>
        <a:p>
          <a:r>
            <a:rPr lang="en-US" sz="1800" baseline="0" dirty="0"/>
            <a:t>Index Allocation Map (IAM)</a:t>
          </a:r>
          <a:endParaRPr lang="en-US" sz="1800" dirty="0"/>
        </a:p>
      </dgm:t>
    </dgm:pt>
    <dgm:pt modelId="{E040D640-364F-423D-8425-0C704C2063B5}" type="parTrans" cxnId="{64877185-F2EF-4FF9-953A-CC00EBFD8D2F}">
      <dgm:prSet/>
      <dgm:spPr/>
      <dgm:t>
        <a:bodyPr/>
        <a:lstStyle/>
        <a:p>
          <a:endParaRPr lang="en-US"/>
        </a:p>
      </dgm:t>
    </dgm:pt>
    <dgm:pt modelId="{BEC3A3CA-8E87-43E0-A18A-E52878015456}" type="sibTrans" cxnId="{64877185-F2EF-4FF9-953A-CC00EBFD8D2F}">
      <dgm:prSet/>
      <dgm:spPr/>
      <dgm:t>
        <a:bodyPr/>
        <a:lstStyle/>
        <a:p>
          <a:endParaRPr lang="en-US"/>
        </a:p>
      </dgm:t>
    </dgm:pt>
    <dgm:pt modelId="{35427682-A828-42A0-BDBB-2D4F3A0C2195}">
      <dgm:prSet/>
      <dgm:spPr/>
      <dgm:t>
        <a:bodyPr/>
        <a:lstStyle/>
        <a:p>
          <a:r>
            <a:rPr lang="en-US" baseline="0" dirty="0"/>
            <a:t>Tracks extents that are allocated to an allocation unit</a:t>
          </a:r>
          <a:endParaRPr lang="en-US" dirty="0"/>
        </a:p>
      </dgm:t>
    </dgm:pt>
    <dgm:pt modelId="{65DDE713-D37B-4482-AA80-BAF9BAB93404}" type="parTrans" cxnId="{9DA8AA68-1B01-495C-8946-238AA9B7D4F8}">
      <dgm:prSet/>
      <dgm:spPr/>
      <dgm:t>
        <a:bodyPr/>
        <a:lstStyle/>
        <a:p>
          <a:endParaRPr lang="en-US"/>
        </a:p>
      </dgm:t>
    </dgm:pt>
    <dgm:pt modelId="{3E6188B2-D532-4D3A-B3AF-CA5C6AA06AC3}" type="sibTrans" cxnId="{9DA8AA68-1B01-495C-8946-238AA9B7D4F8}">
      <dgm:prSet/>
      <dgm:spPr/>
      <dgm:t>
        <a:bodyPr/>
        <a:lstStyle/>
        <a:p>
          <a:endParaRPr lang="en-US"/>
        </a:p>
      </dgm:t>
    </dgm:pt>
    <dgm:pt modelId="{6CED49F6-113B-4353-B6E5-0AA58429E032}">
      <dgm:prSet/>
      <dgm:spPr/>
      <dgm:t>
        <a:bodyPr/>
        <a:lstStyle/>
        <a:p>
          <a:r>
            <a:rPr lang="en-US" baseline="0" dirty="0"/>
            <a:t>Covers 4 GB worth of data</a:t>
          </a:r>
          <a:endParaRPr lang="en-US" dirty="0"/>
        </a:p>
      </dgm:t>
    </dgm:pt>
    <dgm:pt modelId="{F9E2E512-9D47-4072-A6B7-369FF49324C8}" type="parTrans" cxnId="{5E20A0F2-8F96-4B7C-8580-A9EA573B9F2E}">
      <dgm:prSet/>
      <dgm:spPr/>
      <dgm:t>
        <a:bodyPr/>
        <a:lstStyle/>
        <a:p>
          <a:endParaRPr lang="en-US"/>
        </a:p>
      </dgm:t>
    </dgm:pt>
    <dgm:pt modelId="{CD6A4874-6F74-461D-B2F1-77D1E301C817}" type="sibTrans" cxnId="{5E20A0F2-8F96-4B7C-8580-A9EA573B9F2E}">
      <dgm:prSet/>
      <dgm:spPr/>
      <dgm:t>
        <a:bodyPr/>
        <a:lstStyle/>
        <a:p>
          <a:endParaRPr lang="en-US"/>
        </a:p>
      </dgm:t>
    </dgm:pt>
    <dgm:pt modelId="{096C94ED-E0C0-4CAF-9C96-652253E24257}">
      <dgm:prSet/>
      <dgm:spPr/>
      <dgm:t>
        <a:bodyPr/>
        <a:lstStyle/>
        <a:p>
          <a:r>
            <a:rPr lang="en-US" baseline="0" dirty="0"/>
            <a:t>One IAM chain per table, per index, per partition, per allocation unit type</a:t>
          </a:r>
          <a:endParaRPr lang="en-US" dirty="0"/>
        </a:p>
      </dgm:t>
    </dgm:pt>
    <dgm:pt modelId="{8D514285-37B2-4CD0-9D25-3E68FB63CE53}" type="parTrans" cxnId="{4F90C4D3-CF47-496B-86CF-FF1611B52AE2}">
      <dgm:prSet/>
      <dgm:spPr/>
      <dgm:t>
        <a:bodyPr/>
        <a:lstStyle/>
        <a:p>
          <a:endParaRPr lang="en-US"/>
        </a:p>
      </dgm:t>
    </dgm:pt>
    <dgm:pt modelId="{455956A8-42FA-42C3-A2DB-C1E2FE974FBD}" type="sibTrans" cxnId="{4F90C4D3-CF47-496B-86CF-FF1611B52AE2}">
      <dgm:prSet/>
      <dgm:spPr/>
      <dgm:t>
        <a:bodyPr/>
        <a:lstStyle/>
        <a:p>
          <a:endParaRPr lang="en-US"/>
        </a:p>
      </dgm:t>
    </dgm:pt>
    <dgm:pt modelId="{5ECBD16C-41D3-4ECA-AFA4-F8B7724F4B7F}" type="pres">
      <dgm:prSet presAssocID="{6C27B579-201C-453D-AD79-EE550645F001}" presName="Name0" presStyleCnt="0">
        <dgm:presLayoutVars>
          <dgm:dir/>
          <dgm:animLvl val="lvl"/>
          <dgm:resizeHandles val="exact"/>
        </dgm:presLayoutVars>
      </dgm:prSet>
      <dgm:spPr/>
    </dgm:pt>
    <dgm:pt modelId="{84CCD5CE-B0A3-459A-A81F-AC1A93D3E0CD}" type="pres">
      <dgm:prSet presAssocID="{494204D9-D84F-4879-AD13-AE7C35A4F483}" presName="composite" presStyleCnt="0"/>
      <dgm:spPr/>
    </dgm:pt>
    <dgm:pt modelId="{3AC990E7-EC36-47FB-AF8A-D4BF7B5CB066}" type="pres">
      <dgm:prSet presAssocID="{494204D9-D84F-4879-AD13-AE7C35A4F483}" presName="parTx" presStyleLbl="alignNode1" presStyleIdx="0" presStyleCnt="4">
        <dgm:presLayoutVars>
          <dgm:chMax val="0"/>
          <dgm:chPref val="0"/>
          <dgm:bulletEnabled val="1"/>
        </dgm:presLayoutVars>
      </dgm:prSet>
      <dgm:spPr/>
    </dgm:pt>
    <dgm:pt modelId="{E7C774AA-542E-48C3-A864-EEA7245BD745}" type="pres">
      <dgm:prSet presAssocID="{494204D9-D84F-4879-AD13-AE7C35A4F483}" presName="desTx" presStyleLbl="alignAccFollowNode1" presStyleIdx="0" presStyleCnt="4">
        <dgm:presLayoutVars>
          <dgm:bulletEnabled val="1"/>
        </dgm:presLayoutVars>
      </dgm:prSet>
      <dgm:spPr/>
    </dgm:pt>
    <dgm:pt modelId="{AE04A8A7-1A08-42EB-BBF6-63788E9E3FB5}" type="pres">
      <dgm:prSet presAssocID="{B9B56087-FA8F-4471-AF9E-BDCDA76E229D}" presName="space" presStyleCnt="0"/>
      <dgm:spPr/>
    </dgm:pt>
    <dgm:pt modelId="{233D5A24-957B-4CD4-B2D0-1FBB426CE76C}" type="pres">
      <dgm:prSet presAssocID="{4DD25A31-B209-4671-8C64-156B8B96974D}" presName="composite" presStyleCnt="0"/>
      <dgm:spPr/>
    </dgm:pt>
    <dgm:pt modelId="{9FA250F5-EE59-4D85-8E94-4338AF834BF2}" type="pres">
      <dgm:prSet presAssocID="{4DD25A31-B209-4671-8C64-156B8B96974D}" presName="parTx" presStyleLbl="alignNode1" presStyleIdx="1" presStyleCnt="4">
        <dgm:presLayoutVars>
          <dgm:chMax val="0"/>
          <dgm:chPref val="0"/>
          <dgm:bulletEnabled val="1"/>
        </dgm:presLayoutVars>
      </dgm:prSet>
      <dgm:spPr/>
    </dgm:pt>
    <dgm:pt modelId="{AD3AE9D9-53BB-496E-A3E4-EF036CF514D2}" type="pres">
      <dgm:prSet presAssocID="{4DD25A31-B209-4671-8C64-156B8B96974D}" presName="desTx" presStyleLbl="alignAccFollowNode1" presStyleIdx="1" presStyleCnt="4">
        <dgm:presLayoutVars>
          <dgm:bulletEnabled val="1"/>
        </dgm:presLayoutVars>
      </dgm:prSet>
      <dgm:spPr/>
    </dgm:pt>
    <dgm:pt modelId="{DA898E7E-D522-4D07-98B4-5689DF650A1C}" type="pres">
      <dgm:prSet presAssocID="{CF8820BE-AF48-4612-9B2D-7A4F8D819909}" presName="space" presStyleCnt="0"/>
      <dgm:spPr/>
    </dgm:pt>
    <dgm:pt modelId="{69E8B990-1A97-430F-8646-CF590F907EF8}" type="pres">
      <dgm:prSet presAssocID="{173E91BA-4B1F-4368-A8D8-D8EAE605760C}" presName="composite" presStyleCnt="0"/>
      <dgm:spPr/>
    </dgm:pt>
    <dgm:pt modelId="{580B96B5-8BC4-454D-B4D6-22D2C7BBC512}" type="pres">
      <dgm:prSet presAssocID="{173E91BA-4B1F-4368-A8D8-D8EAE605760C}" presName="parTx" presStyleLbl="alignNode1" presStyleIdx="2" presStyleCnt="4">
        <dgm:presLayoutVars>
          <dgm:chMax val="0"/>
          <dgm:chPref val="0"/>
          <dgm:bulletEnabled val="1"/>
        </dgm:presLayoutVars>
      </dgm:prSet>
      <dgm:spPr/>
    </dgm:pt>
    <dgm:pt modelId="{403F8695-450D-4790-878E-6F6D6F842041}" type="pres">
      <dgm:prSet presAssocID="{173E91BA-4B1F-4368-A8D8-D8EAE605760C}" presName="desTx" presStyleLbl="alignAccFollowNode1" presStyleIdx="2" presStyleCnt="4">
        <dgm:presLayoutVars>
          <dgm:bulletEnabled val="1"/>
        </dgm:presLayoutVars>
      </dgm:prSet>
      <dgm:spPr/>
    </dgm:pt>
    <dgm:pt modelId="{C553B6CB-50F9-4B1C-94AB-F4B2395E7F9E}" type="pres">
      <dgm:prSet presAssocID="{6D5A1626-3362-4EB1-80F6-C0EDE9BC0EC8}" presName="space" presStyleCnt="0"/>
      <dgm:spPr/>
    </dgm:pt>
    <dgm:pt modelId="{6F232813-E236-4386-823B-19ABDBC6427B}" type="pres">
      <dgm:prSet presAssocID="{ED3C308D-8798-4F2C-ADBD-36A347D93FF9}" presName="composite" presStyleCnt="0"/>
      <dgm:spPr/>
    </dgm:pt>
    <dgm:pt modelId="{7D0E2B34-C1FF-4757-9556-4EBE8E8751BA}" type="pres">
      <dgm:prSet presAssocID="{ED3C308D-8798-4F2C-ADBD-36A347D93FF9}" presName="parTx" presStyleLbl="alignNode1" presStyleIdx="3" presStyleCnt="4">
        <dgm:presLayoutVars>
          <dgm:chMax val="0"/>
          <dgm:chPref val="0"/>
          <dgm:bulletEnabled val="1"/>
        </dgm:presLayoutVars>
      </dgm:prSet>
      <dgm:spPr/>
    </dgm:pt>
    <dgm:pt modelId="{7849064C-C948-4E3B-AB3A-3790921E0E33}" type="pres">
      <dgm:prSet presAssocID="{ED3C308D-8798-4F2C-ADBD-36A347D93FF9}" presName="desTx" presStyleLbl="alignAccFollowNode1" presStyleIdx="3" presStyleCnt="4">
        <dgm:presLayoutVars>
          <dgm:bulletEnabled val="1"/>
        </dgm:presLayoutVars>
      </dgm:prSet>
      <dgm:spPr/>
    </dgm:pt>
  </dgm:ptLst>
  <dgm:cxnLst>
    <dgm:cxn modelId="{5E7E890A-02C8-4475-8670-4D4F47E63F53}" srcId="{4DD25A31-B209-4671-8C64-156B8B96974D}" destId="{7B3466DB-7B4E-4F68-ADF9-8FD5F463B8C4}" srcOrd="1" destOrd="0" parTransId="{EF26FDF6-79C2-470F-BCC1-160BC2B7A150}" sibTransId="{307A13C2-0B5F-4BCD-8F73-77E458082746}"/>
    <dgm:cxn modelId="{B16C060C-347A-40B7-8680-77808A9DB2F3}" type="presOf" srcId="{494204D9-D84F-4879-AD13-AE7C35A4F483}" destId="{3AC990E7-EC36-47FB-AF8A-D4BF7B5CB066}" srcOrd="0" destOrd="0" presId="urn:microsoft.com/office/officeart/2005/8/layout/hList1"/>
    <dgm:cxn modelId="{4C65D323-50E1-4FB5-93C7-03516B4ED109}" type="presOf" srcId="{ED3C308D-8798-4F2C-ADBD-36A347D93FF9}" destId="{7D0E2B34-C1FF-4757-9556-4EBE8E8751BA}" srcOrd="0" destOrd="0" presId="urn:microsoft.com/office/officeart/2005/8/layout/hList1"/>
    <dgm:cxn modelId="{C5BEFD29-810C-4E78-88CC-CFDC6555F13B}" type="presOf" srcId="{A1575CC9-AE14-4410-B48F-41C89E23D6D2}" destId="{403F8695-450D-4790-878E-6F6D6F842041}" srcOrd="0" destOrd="0" presId="urn:microsoft.com/office/officeart/2005/8/layout/hList1"/>
    <dgm:cxn modelId="{DA11C23B-97A9-4211-8930-565C7E4720E0}" type="presOf" srcId="{6C27B579-201C-453D-AD79-EE550645F001}" destId="{5ECBD16C-41D3-4ECA-AFA4-F8B7724F4B7F}" srcOrd="0" destOrd="0" presId="urn:microsoft.com/office/officeart/2005/8/layout/hList1"/>
    <dgm:cxn modelId="{B0A6883F-2BB9-41B3-9268-43DABA53F034}" type="presOf" srcId="{F02CD790-47A8-41C9-8D96-248B3365BC8F}" destId="{E7C774AA-542E-48C3-A864-EEA7245BD745}" srcOrd="0" destOrd="1" presId="urn:microsoft.com/office/officeart/2005/8/layout/hList1"/>
    <dgm:cxn modelId="{34BF825E-BD08-495A-9864-BE76E86A71B7}" type="presOf" srcId="{173E91BA-4B1F-4368-A8D8-D8EAE605760C}" destId="{580B96B5-8BC4-454D-B4D6-22D2C7BBC512}" srcOrd="0" destOrd="0" presId="urn:microsoft.com/office/officeart/2005/8/layout/hList1"/>
    <dgm:cxn modelId="{CEB1DA61-B7AA-4E15-9DFE-CA163CF31DBA}" srcId="{6C27B579-201C-453D-AD79-EE550645F001}" destId="{173E91BA-4B1F-4368-A8D8-D8EAE605760C}" srcOrd="2" destOrd="0" parTransId="{98C94F74-0EAE-48B3-9EE4-DB6FAA52C721}" sibTransId="{6D5A1626-3362-4EB1-80F6-C0EDE9BC0EC8}"/>
    <dgm:cxn modelId="{9DA8AA68-1B01-495C-8946-238AA9B7D4F8}" srcId="{ED3C308D-8798-4F2C-ADBD-36A347D93FF9}" destId="{35427682-A828-42A0-BDBB-2D4F3A0C2195}" srcOrd="0" destOrd="0" parTransId="{65DDE713-D37B-4482-AA80-BAF9BAB93404}" sibTransId="{3E6188B2-D532-4D3A-B3AF-CA5C6AA06AC3}"/>
    <dgm:cxn modelId="{7ACA844D-6485-4E7E-A3C5-64F8BBB09378}" srcId="{6C27B579-201C-453D-AD79-EE550645F001}" destId="{4DD25A31-B209-4671-8C64-156B8B96974D}" srcOrd="1" destOrd="0" parTransId="{6E2AE1B6-5E54-414D-BD85-9366B973A802}" sibTransId="{CF8820BE-AF48-4612-9B2D-7A4F8D819909}"/>
    <dgm:cxn modelId="{1048C473-C2E3-4C98-8F1D-32245469A2DD}" type="presOf" srcId="{EBE58DEA-5DAB-4106-9B99-DD165D918FEC}" destId="{E7C774AA-542E-48C3-A864-EEA7245BD745}" srcOrd="0" destOrd="0" presId="urn:microsoft.com/office/officeart/2005/8/layout/hList1"/>
    <dgm:cxn modelId="{D20E1D56-9F1C-4433-9732-1CBC8927D5F3}" srcId="{173E91BA-4B1F-4368-A8D8-D8EAE605760C}" destId="{A4127F4F-F527-45B3-8609-B21D814D0051}" srcOrd="1" destOrd="0" parTransId="{3CC6D229-5DDC-4C59-9114-12440771D0B7}" sibTransId="{B003CDC2-FE9A-4E1B-8FCA-28DBDAA888F8}"/>
    <dgm:cxn modelId="{385A0481-3D2B-4860-B699-40C25CC2F831}" srcId="{6C27B579-201C-453D-AD79-EE550645F001}" destId="{494204D9-D84F-4879-AD13-AE7C35A4F483}" srcOrd="0" destOrd="0" parTransId="{11198DCD-E631-4B79-870C-78DB06D25631}" sibTransId="{B9B56087-FA8F-4471-AF9E-BDCDA76E229D}"/>
    <dgm:cxn modelId="{64877185-F2EF-4FF9-953A-CC00EBFD8D2F}" srcId="{6C27B579-201C-453D-AD79-EE550645F001}" destId="{ED3C308D-8798-4F2C-ADBD-36A347D93FF9}" srcOrd="3" destOrd="0" parTransId="{E040D640-364F-423D-8425-0C704C2063B5}" sibTransId="{BEC3A3CA-8E87-43E0-A18A-E52878015456}"/>
    <dgm:cxn modelId="{44B87886-7ED3-4EBD-AB6E-5CB705B818FC}" srcId="{173E91BA-4B1F-4368-A8D8-D8EAE605760C}" destId="{A1575CC9-AE14-4410-B48F-41C89E23D6D2}" srcOrd="0" destOrd="0" parTransId="{EB4A0B4F-1987-4E0B-B8B1-8854E991832D}" sibTransId="{AD43642F-643B-4BA6-A187-E44FD999E990}"/>
    <dgm:cxn modelId="{848AC98B-9D8F-4EFD-AFFC-5C13802FF66C}" type="presOf" srcId="{6CED49F6-113B-4353-B6E5-0AA58429E032}" destId="{7849064C-C948-4E3B-AB3A-3790921E0E33}" srcOrd="0" destOrd="1" presId="urn:microsoft.com/office/officeart/2005/8/layout/hList1"/>
    <dgm:cxn modelId="{1DC9CA98-DADB-4D5B-AB30-83FD7912857A}" type="presOf" srcId="{0EC3B0F7-71C9-4B09-88A1-E41EEB4EA8E1}" destId="{AD3AE9D9-53BB-496E-A3E4-EF036CF514D2}" srcOrd="0" destOrd="0" presId="urn:microsoft.com/office/officeart/2005/8/layout/hList1"/>
    <dgm:cxn modelId="{07261DAA-00C9-40A2-8015-36D6DDBF1861}" srcId="{494204D9-D84F-4879-AD13-AE7C35A4F483}" destId="{F02CD790-47A8-41C9-8D96-248B3365BC8F}" srcOrd="1" destOrd="0" parTransId="{F3DCA3C6-3B97-4D5F-8EB9-C898ED60269C}" sibTransId="{C4708D95-2614-48C4-83E0-75DBA53CF2B7}"/>
    <dgm:cxn modelId="{3868ADB5-6886-424F-B7F2-FEF7D65A5F72}" type="presOf" srcId="{096C94ED-E0C0-4CAF-9C96-652253E24257}" destId="{7849064C-C948-4E3B-AB3A-3790921E0E33}" srcOrd="0" destOrd="2" presId="urn:microsoft.com/office/officeart/2005/8/layout/hList1"/>
    <dgm:cxn modelId="{3CCFAFB8-641B-4E46-86B2-926161CB3F00}" srcId="{4DD25A31-B209-4671-8C64-156B8B96974D}" destId="{0EC3B0F7-71C9-4B09-88A1-E41EEB4EA8E1}" srcOrd="0" destOrd="0" parTransId="{6DB4C0AE-5C26-468A-8C18-591B85DB266F}" sibTransId="{528D9AA5-8FC1-4E9D-87B0-23774CB89E5F}"/>
    <dgm:cxn modelId="{7E117ED0-C324-4BCB-B7C6-9FFF7501F61D}" type="presOf" srcId="{4DD25A31-B209-4671-8C64-156B8B96974D}" destId="{9FA250F5-EE59-4D85-8E94-4338AF834BF2}" srcOrd="0" destOrd="0" presId="urn:microsoft.com/office/officeart/2005/8/layout/hList1"/>
    <dgm:cxn modelId="{4F90C4D3-CF47-496B-86CF-FF1611B52AE2}" srcId="{ED3C308D-8798-4F2C-ADBD-36A347D93FF9}" destId="{096C94ED-E0C0-4CAF-9C96-652253E24257}" srcOrd="2" destOrd="0" parTransId="{8D514285-37B2-4CD0-9D25-3E68FB63CE53}" sibTransId="{455956A8-42FA-42C3-A2DB-C1E2FE974FBD}"/>
    <dgm:cxn modelId="{24A53CD6-B3D6-4504-94B9-64765DBF3665}" type="presOf" srcId="{A4127F4F-F527-45B3-8609-B21D814D0051}" destId="{403F8695-450D-4790-878E-6F6D6F842041}" srcOrd="0" destOrd="1" presId="urn:microsoft.com/office/officeart/2005/8/layout/hList1"/>
    <dgm:cxn modelId="{FF885EE1-F708-4C6C-9E6E-1DC2BBBB8B5A}" type="presOf" srcId="{7B3466DB-7B4E-4F68-ADF9-8FD5F463B8C4}" destId="{AD3AE9D9-53BB-496E-A3E4-EF036CF514D2}" srcOrd="0" destOrd="1" presId="urn:microsoft.com/office/officeart/2005/8/layout/hList1"/>
    <dgm:cxn modelId="{8DE5C0E1-4682-4FF6-8070-240C66D85CC1}" srcId="{494204D9-D84F-4879-AD13-AE7C35A4F483}" destId="{EBE58DEA-5DAB-4106-9B99-DD165D918FEC}" srcOrd="0" destOrd="0" parTransId="{1ADE4576-AFCF-486B-A35E-6753E221CC49}" sibTransId="{2F4BA0BE-A199-4458-BF57-95932665C955}"/>
    <dgm:cxn modelId="{5E20A0F2-8F96-4B7C-8580-A9EA573B9F2E}" srcId="{ED3C308D-8798-4F2C-ADBD-36A347D93FF9}" destId="{6CED49F6-113B-4353-B6E5-0AA58429E032}" srcOrd="1" destOrd="0" parTransId="{F9E2E512-9D47-4072-A6B7-369FF49324C8}" sibTransId="{CD6A4874-6F74-461D-B2F1-77D1E301C817}"/>
    <dgm:cxn modelId="{5A387DFA-C482-4A4C-BBFB-FD87C4859629}" type="presOf" srcId="{35427682-A828-42A0-BDBB-2D4F3A0C2195}" destId="{7849064C-C948-4E3B-AB3A-3790921E0E33}" srcOrd="0" destOrd="0" presId="urn:microsoft.com/office/officeart/2005/8/layout/hList1"/>
    <dgm:cxn modelId="{66017E5D-A041-4D77-8DC0-F41AD9C4E563}" type="presParOf" srcId="{5ECBD16C-41D3-4ECA-AFA4-F8B7724F4B7F}" destId="{84CCD5CE-B0A3-459A-A81F-AC1A93D3E0CD}" srcOrd="0" destOrd="0" presId="urn:microsoft.com/office/officeart/2005/8/layout/hList1"/>
    <dgm:cxn modelId="{F6612A73-C6BB-483F-94E9-763211F6866A}" type="presParOf" srcId="{84CCD5CE-B0A3-459A-A81F-AC1A93D3E0CD}" destId="{3AC990E7-EC36-47FB-AF8A-D4BF7B5CB066}" srcOrd="0" destOrd="0" presId="urn:microsoft.com/office/officeart/2005/8/layout/hList1"/>
    <dgm:cxn modelId="{68BD4881-C90A-4003-A099-14D8D50E9967}" type="presParOf" srcId="{84CCD5CE-B0A3-459A-A81F-AC1A93D3E0CD}" destId="{E7C774AA-542E-48C3-A864-EEA7245BD745}" srcOrd="1" destOrd="0" presId="urn:microsoft.com/office/officeart/2005/8/layout/hList1"/>
    <dgm:cxn modelId="{BA323D1C-2854-4826-A6F9-5006C393D79B}" type="presParOf" srcId="{5ECBD16C-41D3-4ECA-AFA4-F8B7724F4B7F}" destId="{AE04A8A7-1A08-42EB-BBF6-63788E9E3FB5}" srcOrd="1" destOrd="0" presId="urn:microsoft.com/office/officeart/2005/8/layout/hList1"/>
    <dgm:cxn modelId="{9B822A31-1542-401E-8520-CA9B55AC7AD6}" type="presParOf" srcId="{5ECBD16C-41D3-4ECA-AFA4-F8B7724F4B7F}" destId="{233D5A24-957B-4CD4-B2D0-1FBB426CE76C}" srcOrd="2" destOrd="0" presId="urn:microsoft.com/office/officeart/2005/8/layout/hList1"/>
    <dgm:cxn modelId="{45E503D6-EE1B-468B-A096-68D60F310F1B}" type="presParOf" srcId="{233D5A24-957B-4CD4-B2D0-1FBB426CE76C}" destId="{9FA250F5-EE59-4D85-8E94-4338AF834BF2}" srcOrd="0" destOrd="0" presId="urn:microsoft.com/office/officeart/2005/8/layout/hList1"/>
    <dgm:cxn modelId="{0290EB9F-7D87-49A1-A3D0-F9A2B11B3EC2}" type="presParOf" srcId="{233D5A24-957B-4CD4-B2D0-1FBB426CE76C}" destId="{AD3AE9D9-53BB-496E-A3E4-EF036CF514D2}" srcOrd="1" destOrd="0" presId="urn:microsoft.com/office/officeart/2005/8/layout/hList1"/>
    <dgm:cxn modelId="{24C5B404-D1AC-4825-8818-9EED2C4BAB7B}" type="presParOf" srcId="{5ECBD16C-41D3-4ECA-AFA4-F8B7724F4B7F}" destId="{DA898E7E-D522-4D07-98B4-5689DF650A1C}" srcOrd="3" destOrd="0" presId="urn:microsoft.com/office/officeart/2005/8/layout/hList1"/>
    <dgm:cxn modelId="{5F6367B9-F45B-489A-A76C-5EF0E50D3D1B}" type="presParOf" srcId="{5ECBD16C-41D3-4ECA-AFA4-F8B7724F4B7F}" destId="{69E8B990-1A97-430F-8646-CF590F907EF8}" srcOrd="4" destOrd="0" presId="urn:microsoft.com/office/officeart/2005/8/layout/hList1"/>
    <dgm:cxn modelId="{937257A5-5B4A-4729-9C60-6AB0175D400A}" type="presParOf" srcId="{69E8B990-1A97-430F-8646-CF590F907EF8}" destId="{580B96B5-8BC4-454D-B4D6-22D2C7BBC512}" srcOrd="0" destOrd="0" presId="urn:microsoft.com/office/officeart/2005/8/layout/hList1"/>
    <dgm:cxn modelId="{78A97D21-9B06-43EC-9B8F-EA11DBC09EB2}" type="presParOf" srcId="{69E8B990-1A97-430F-8646-CF590F907EF8}" destId="{403F8695-450D-4790-878E-6F6D6F842041}" srcOrd="1" destOrd="0" presId="urn:microsoft.com/office/officeart/2005/8/layout/hList1"/>
    <dgm:cxn modelId="{2D03EB25-E7F9-4BE0-BB5F-CA18D5388F27}" type="presParOf" srcId="{5ECBD16C-41D3-4ECA-AFA4-F8B7724F4B7F}" destId="{C553B6CB-50F9-4B1C-94AB-F4B2395E7F9E}" srcOrd="5" destOrd="0" presId="urn:microsoft.com/office/officeart/2005/8/layout/hList1"/>
    <dgm:cxn modelId="{5B6374A5-D49A-4D90-B19D-EA5742FEAC61}" type="presParOf" srcId="{5ECBD16C-41D3-4ECA-AFA4-F8B7724F4B7F}" destId="{6F232813-E236-4386-823B-19ABDBC6427B}" srcOrd="6" destOrd="0" presId="urn:microsoft.com/office/officeart/2005/8/layout/hList1"/>
    <dgm:cxn modelId="{A4241D1F-214B-4091-8940-6B19F84D9433}" type="presParOf" srcId="{6F232813-E236-4386-823B-19ABDBC6427B}" destId="{7D0E2B34-C1FF-4757-9556-4EBE8E8751BA}" srcOrd="0" destOrd="0" presId="urn:microsoft.com/office/officeart/2005/8/layout/hList1"/>
    <dgm:cxn modelId="{1BA807BB-F9B5-43A1-BF95-AF33EC75C9D6}" type="presParOf" srcId="{6F232813-E236-4386-823B-19ABDBC6427B}" destId="{7849064C-C948-4E3B-AB3A-3790921E0E3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D02CA96-1536-4206-B387-E64B77A9B944}"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67C196C1-479D-493A-86F7-906E346B0E64}">
      <dgm:prSet custT="1"/>
      <dgm:spPr/>
      <dgm:t>
        <a:bodyPr/>
        <a:lstStyle/>
        <a:p>
          <a:r>
            <a:rPr lang="en-US" sz="2400" dirty="0"/>
            <a:t>Starting with SQL Server 2016 (13.x)</a:t>
          </a:r>
        </a:p>
      </dgm:t>
    </dgm:pt>
    <dgm:pt modelId="{31E724A6-EEF5-4B01-AF00-D43049EDFFF5}" type="parTrans" cxnId="{E7475E76-A6BF-4FF7-9D5E-4B393E09A66E}">
      <dgm:prSet/>
      <dgm:spPr/>
      <dgm:t>
        <a:bodyPr/>
        <a:lstStyle/>
        <a:p>
          <a:endParaRPr lang="en-US"/>
        </a:p>
      </dgm:t>
    </dgm:pt>
    <dgm:pt modelId="{7B38B9B2-8EA9-480F-8028-9AF917BB834F}" type="sibTrans" cxnId="{E7475E76-A6BF-4FF7-9D5E-4B393E09A66E}">
      <dgm:prSet/>
      <dgm:spPr/>
      <dgm:t>
        <a:bodyPr/>
        <a:lstStyle/>
        <a:p>
          <a:endParaRPr lang="en-US"/>
        </a:p>
      </dgm:t>
    </dgm:pt>
    <dgm:pt modelId="{2B1EA572-1D39-4812-8794-0DE22AB57DEB}">
      <dgm:prSet custT="1"/>
      <dgm:spPr/>
      <dgm:t>
        <a:bodyPr/>
        <a:lstStyle/>
        <a:p>
          <a:r>
            <a:rPr lang="en-US" sz="2400" dirty="0"/>
            <a:t>Decreases contention on SGAM objects</a:t>
          </a:r>
        </a:p>
      </dgm:t>
    </dgm:pt>
    <dgm:pt modelId="{28444F7B-7F50-491A-90CA-F93A3BE1FD63}" type="parTrans" cxnId="{FFCA05E4-BFED-4539-920C-B3D3C4D39551}">
      <dgm:prSet/>
      <dgm:spPr/>
      <dgm:t>
        <a:bodyPr/>
        <a:lstStyle/>
        <a:p>
          <a:endParaRPr lang="en-US"/>
        </a:p>
      </dgm:t>
    </dgm:pt>
    <dgm:pt modelId="{55EB91EC-04EA-47DF-A975-F774913CCD5A}" type="sibTrans" cxnId="{FFCA05E4-BFED-4539-920C-B3D3C4D39551}">
      <dgm:prSet/>
      <dgm:spPr/>
      <dgm:t>
        <a:bodyPr/>
        <a:lstStyle/>
        <a:p>
          <a:endParaRPr lang="en-US"/>
        </a:p>
      </dgm:t>
    </dgm:pt>
    <dgm:pt modelId="{D50B1C1D-23F0-4D8E-A49D-C685AB8355E6}">
      <dgm:prSet custT="1"/>
      <dgm:spPr/>
      <dgm:t>
        <a:bodyPr/>
        <a:lstStyle/>
        <a:p>
          <a:r>
            <a:rPr lang="en-US" sz="2400" dirty="0"/>
            <a:t>Default for allocations in the database is Uniform extents for Data pages</a:t>
          </a:r>
        </a:p>
      </dgm:t>
    </dgm:pt>
    <dgm:pt modelId="{154DDF9A-2346-4598-A6B0-4B679273AA11}" type="parTrans" cxnId="{DB15CBC5-DDD0-4038-A3AF-D978A594E0A7}">
      <dgm:prSet/>
      <dgm:spPr/>
      <dgm:t>
        <a:bodyPr/>
        <a:lstStyle/>
        <a:p>
          <a:endParaRPr lang="en-US"/>
        </a:p>
      </dgm:t>
    </dgm:pt>
    <dgm:pt modelId="{63A512F0-9E7D-44B6-9CEE-0951D7A11727}" type="sibTrans" cxnId="{DB15CBC5-DDD0-4038-A3AF-D978A594E0A7}">
      <dgm:prSet/>
      <dgm:spPr/>
      <dgm:t>
        <a:bodyPr/>
        <a:lstStyle/>
        <a:p>
          <a:endParaRPr lang="en-US"/>
        </a:p>
      </dgm:t>
    </dgm:pt>
    <dgm:pt modelId="{E31C9269-574D-40DC-8597-EF836EA6138D}">
      <dgm:prSet custT="1"/>
      <dgm:spPr/>
      <dgm:t>
        <a:bodyPr/>
        <a:lstStyle/>
        <a:p>
          <a:r>
            <a:rPr lang="en-US" sz="2400" dirty="0"/>
            <a:t>Up to, and including, SQL Server 2014 (12.x)</a:t>
          </a:r>
        </a:p>
      </dgm:t>
    </dgm:pt>
    <dgm:pt modelId="{A531E8D6-CE11-40FF-9F60-13B47E301E86}" type="parTrans" cxnId="{CEA5AAFB-4AAA-4287-8D03-483D8A7D9C13}">
      <dgm:prSet/>
      <dgm:spPr/>
      <dgm:t>
        <a:bodyPr/>
        <a:lstStyle/>
        <a:p>
          <a:endParaRPr lang="en-US"/>
        </a:p>
      </dgm:t>
    </dgm:pt>
    <dgm:pt modelId="{27F9A033-BC0D-423A-835B-F4FDA9E8F73C}" type="sibTrans" cxnId="{CEA5AAFB-4AAA-4287-8D03-483D8A7D9C13}">
      <dgm:prSet/>
      <dgm:spPr/>
      <dgm:t>
        <a:bodyPr/>
        <a:lstStyle/>
        <a:p>
          <a:endParaRPr lang="en-US"/>
        </a:p>
      </dgm:t>
    </dgm:pt>
    <dgm:pt modelId="{83729096-D717-4A11-9F09-E3A127CAA486}">
      <dgm:prSet custT="1"/>
      <dgm:spPr/>
      <dgm:t>
        <a:bodyPr/>
        <a:lstStyle/>
        <a:p>
          <a:r>
            <a:rPr lang="en-US" sz="2400" dirty="0"/>
            <a:t>On object creation 2 pages from a mixed extents are allocated</a:t>
          </a:r>
        </a:p>
      </dgm:t>
    </dgm:pt>
    <dgm:pt modelId="{F36E1F41-9EBC-4505-8904-7271970DF5A8}" type="parTrans" cxnId="{511D38C5-E7AC-4A59-B4F2-5C682660D9E8}">
      <dgm:prSet/>
      <dgm:spPr/>
      <dgm:t>
        <a:bodyPr/>
        <a:lstStyle/>
        <a:p>
          <a:endParaRPr lang="en-US"/>
        </a:p>
      </dgm:t>
    </dgm:pt>
    <dgm:pt modelId="{D8CFC30E-B037-4636-B740-597D850A0147}" type="sibTrans" cxnId="{511D38C5-E7AC-4A59-B4F2-5C682660D9E8}">
      <dgm:prSet/>
      <dgm:spPr/>
      <dgm:t>
        <a:bodyPr/>
        <a:lstStyle/>
        <a:p>
          <a:endParaRPr lang="en-US"/>
        </a:p>
      </dgm:t>
    </dgm:pt>
    <dgm:pt modelId="{90DD7FB7-59C3-4F67-95FB-1AC806B65FC7}">
      <dgm:prSet custT="1"/>
      <dgm:spPr/>
      <dgm:t>
        <a:bodyPr/>
        <a:lstStyle/>
        <a:p>
          <a:r>
            <a:rPr lang="en-US" sz="2400" dirty="0"/>
            <a:t>After 8 data pages,  new allocation comes from Uniform Extent</a:t>
          </a:r>
        </a:p>
      </dgm:t>
    </dgm:pt>
    <dgm:pt modelId="{5BE8EC6B-1058-45E7-81EA-D41E277C689F}" type="parTrans" cxnId="{002CD1C4-EB31-4F29-A506-078275CA38D2}">
      <dgm:prSet/>
      <dgm:spPr/>
      <dgm:t>
        <a:bodyPr/>
        <a:lstStyle/>
        <a:p>
          <a:endParaRPr lang="en-US"/>
        </a:p>
      </dgm:t>
    </dgm:pt>
    <dgm:pt modelId="{20A75602-F5CF-459F-8329-989DC4184F14}" type="sibTrans" cxnId="{002CD1C4-EB31-4F29-A506-078275CA38D2}">
      <dgm:prSet/>
      <dgm:spPr/>
      <dgm:t>
        <a:bodyPr/>
        <a:lstStyle/>
        <a:p>
          <a:endParaRPr lang="en-US"/>
        </a:p>
      </dgm:t>
    </dgm:pt>
    <dgm:pt modelId="{08B70DAC-320A-4DFB-AE24-D56786139EBC}" type="pres">
      <dgm:prSet presAssocID="{6D02CA96-1536-4206-B387-E64B77A9B944}" presName="linear" presStyleCnt="0">
        <dgm:presLayoutVars>
          <dgm:dir/>
          <dgm:animLvl val="lvl"/>
          <dgm:resizeHandles val="exact"/>
        </dgm:presLayoutVars>
      </dgm:prSet>
      <dgm:spPr/>
    </dgm:pt>
    <dgm:pt modelId="{C3F0E0A0-DB67-4CF5-8BB0-ABC4A68F0A4A}" type="pres">
      <dgm:prSet presAssocID="{E31C9269-574D-40DC-8597-EF836EA6138D}" presName="parentLin" presStyleCnt="0"/>
      <dgm:spPr/>
    </dgm:pt>
    <dgm:pt modelId="{A5F0B516-A2F6-4CE4-BEBA-89B39652612B}" type="pres">
      <dgm:prSet presAssocID="{E31C9269-574D-40DC-8597-EF836EA6138D}" presName="parentLeftMargin" presStyleLbl="node1" presStyleIdx="0" presStyleCnt="2"/>
      <dgm:spPr/>
    </dgm:pt>
    <dgm:pt modelId="{3AD40822-D0F7-405C-A43B-CE4D829B28CD}" type="pres">
      <dgm:prSet presAssocID="{E31C9269-574D-40DC-8597-EF836EA6138D}" presName="parentText" presStyleLbl="node1" presStyleIdx="0" presStyleCnt="2">
        <dgm:presLayoutVars>
          <dgm:chMax val="0"/>
          <dgm:bulletEnabled val="1"/>
        </dgm:presLayoutVars>
      </dgm:prSet>
      <dgm:spPr/>
    </dgm:pt>
    <dgm:pt modelId="{184D5C77-A416-4CC0-8ADD-9843A53F3EE7}" type="pres">
      <dgm:prSet presAssocID="{E31C9269-574D-40DC-8597-EF836EA6138D}" presName="negativeSpace" presStyleCnt="0"/>
      <dgm:spPr/>
    </dgm:pt>
    <dgm:pt modelId="{DE49C234-723A-4BDE-AC95-03F9FB295F41}" type="pres">
      <dgm:prSet presAssocID="{E31C9269-574D-40DC-8597-EF836EA6138D}" presName="childText" presStyleLbl="conFgAcc1" presStyleIdx="0" presStyleCnt="2">
        <dgm:presLayoutVars>
          <dgm:bulletEnabled val="1"/>
        </dgm:presLayoutVars>
      </dgm:prSet>
      <dgm:spPr/>
    </dgm:pt>
    <dgm:pt modelId="{2C0F0824-DE7E-439F-9C77-84FDAD889741}" type="pres">
      <dgm:prSet presAssocID="{27F9A033-BC0D-423A-835B-F4FDA9E8F73C}" presName="spaceBetweenRectangles" presStyleCnt="0"/>
      <dgm:spPr/>
    </dgm:pt>
    <dgm:pt modelId="{2682F373-D0E2-47DD-8D85-39A7347EAF66}" type="pres">
      <dgm:prSet presAssocID="{67C196C1-479D-493A-86F7-906E346B0E64}" presName="parentLin" presStyleCnt="0"/>
      <dgm:spPr/>
    </dgm:pt>
    <dgm:pt modelId="{EA306DFC-DA3B-4982-AE25-13956C56B7BB}" type="pres">
      <dgm:prSet presAssocID="{67C196C1-479D-493A-86F7-906E346B0E64}" presName="parentLeftMargin" presStyleLbl="node1" presStyleIdx="0" presStyleCnt="2"/>
      <dgm:spPr/>
    </dgm:pt>
    <dgm:pt modelId="{902416DC-60D1-44E1-A9BA-CB288DCD1D84}" type="pres">
      <dgm:prSet presAssocID="{67C196C1-479D-493A-86F7-906E346B0E64}" presName="parentText" presStyleLbl="node1" presStyleIdx="1" presStyleCnt="2">
        <dgm:presLayoutVars>
          <dgm:chMax val="0"/>
          <dgm:bulletEnabled val="1"/>
        </dgm:presLayoutVars>
      </dgm:prSet>
      <dgm:spPr/>
    </dgm:pt>
    <dgm:pt modelId="{BDBF67E1-C5D9-4A19-9951-A767C24AF6E2}" type="pres">
      <dgm:prSet presAssocID="{67C196C1-479D-493A-86F7-906E346B0E64}" presName="negativeSpace" presStyleCnt="0"/>
      <dgm:spPr/>
    </dgm:pt>
    <dgm:pt modelId="{F8D3E4B6-63BC-4D03-8AB8-DA50D9D29A49}" type="pres">
      <dgm:prSet presAssocID="{67C196C1-479D-493A-86F7-906E346B0E64}" presName="childText" presStyleLbl="conFgAcc1" presStyleIdx="1" presStyleCnt="2">
        <dgm:presLayoutVars>
          <dgm:bulletEnabled val="1"/>
        </dgm:presLayoutVars>
      </dgm:prSet>
      <dgm:spPr/>
    </dgm:pt>
  </dgm:ptLst>
  <dgm:cxnLst>
    <dgm:cxn modelId="{58088F0C-95E8-40D6-BD50-8AAFB51AB12E}" type="presOf" srcId="{E31C9269-574D-40DC-8597-EF836EA6138D}" destId="{3AD40822-D0F7-405C-A43B-CE4D829B28CD}" srcOrd="1" destOrd="0" presId="urn:microsoft.com/office/officeart/2005/8/layout/list1"/>
    <dgm:cxn modelId="{12F20221-4056-4011-A45F-E2EFF093B73F}" type="presOf" srcId="{67C196C1-479D-493A-86F7-906E346B0E64}" destId="{902416DC-60D1-44E1-A9BA-CB288DCD1D84}" srcOrd="1" destOrd="0" presId="urn:microsoft.com/office/officeart/2005/8/layout/list1"/>
    <dgm:cxn modelId="{AF36AD24-CC77-4E3A-8BF4-969A06371F73}" type="presOf" srcId="{90DD7FB7-59C3-4F67-95FB-1AC806B65FC7}" destId="{DE49C234-723A-4BDE-AC95-03F9FB295F41}" srcOrd="0" destOrd="1" presId="urn:microsoft.com/office/officeart/2005/8/layout/list1"/>
    <dgm:cxn modelId="{91B25833-A916-40C4-971C-30BC9EE3FA78}" type="presOf" srcId="{83729096-D717-4A11-9F09-E3A127CAA486}" destId="{DE49C234-723A-4BDE-AC95-03F9FB295F41}" srcOrd="0" destOrd="0" presId="urn:microsoft.com/office/officeart/2005/8/layout/list1"/>
    <dgm:cxn modelId="{40E2F167-0027-4556-B4AF-F2C9FA3EB436}" type="presOf" srcId="{6D02CA96-1536-4206-B387-E64B77A9B944}" destId="{08B70DAC-320A-4DFB-AE24-D56786139EBC}" srcOrd="0" destOrd="0" presId="urn:microsoft.com/office/officeart/2005/8/layout/list1"/>
    <dgm:cxn modelId="{4974D64A-EBD1-4DBC-A013-559A028C3726}" type="presOf" srcId="{67C196C1-479D-493A-86F7-906E346B0E64}" destId="{EA306DFC-DA3B-4982-AE25-13956C56B7BB}" srcOrd="0" destOrd="0" presId="urn:microsoft.com/office/officeart/2005/8/layout/list1"/>
    <dgm:cxn modelId="{E7475E76-A6BF-4FF7-9D5E-4B393E09A66E}" srcId="{6D02CA96-1536-4206-B387-E64B77A9B944}" destId="{67C196C1-479D-493A-86F7-906E346B0E64}" srcOrd="1" destOrd="0" parTransId="{31E724A6-EEF5-4B01-AF00-D43049EDFFF5}" sibTransId="{7B38B9B2-8EA9-480F-8028-9AF917BB834F}"/>
    <dgm:cxn modelId="{B54A54A9-6197-4DFB-8875-E025548C6612}" type="presOf" srcId="{E31C9269-574D-40DC-8597-EF836EA6138D}" destId="{A5F0B516-A2F6-4CE4-BEBA-89B39652612B}" srcOrd="0" destOrd="0" presId="urn:microsoft.com/office/officeart/2005/8/layout/list1"/>
    <dgm:cxn modelId="{485D3EAD-D690-4D0B-8A2B-402260BFE576}" type="presOf" srcId="{2B1EA572-1D39-4812-8794-0DE22AB57DEB}" destId="{F8D3E4B6-63BC-4D03-8AB8-DA50D9D29A49}" srcOrd="0" destOrd="1" presId="urn:microsoft.com/office/officeart/2005/8/layout/list1"/>
    <dgm:cxn modelId="{002CD1C4-EB31-4F29-A506-078275CA38D2}" srcId="{E31C9269-574D-40DC-8597-EF836EA6138D}" destId="{90DD7FB7-59C3-4F67-95FB-1AC806B65FC7}" srcOrd="1" destOrd="0" parTransId="{5BE8EC6B-1058-45E7-81EA-D41E277C689F}" sibTransId="{20A75602-F5CF-459F-8329-989DC4184F14}"/>
    <dgm:cxn modelId="{511D38C5-E7AC-4A59-B4F2-5C682660D9E8}" srcId="{E31C9269-574D-40DC-8597-EF836EA6138D}" destId="{83729096-D717-4A11-9F09-E3A127CAA486}" srcOrd="0" destOrd="0" parTransId="{F36E1F41-9EBC-4505-8904-7271970DF5A8}" sibTransId="{D8CFC30E-B037-4636-B740-597D850A0147}"/>
    <dgm:cxn modelId="{DB15CBC5-DDD0-4038-A3AF-D978A594E0A7}" srcId="{67C196C1-479D-493A-86F7-906E346B0E64}" destId="{D50B1C1D-23F0-4D8E-A49D-C685AB8355E6}" srcOrd="0" destOrd="0" parTransId="{154DDF9A-2346-4598-A6B0-4B679273AA11}" sibTransId="{63A512F0-9E7D-44B6-9CEE-0951D7A11727}"/>
    <dgm:cxn modelId="{FFCA05E4-BFED-4539-920C-B3D3C4D39551}" srcId="{67C196C1-479D-493A-86F7-906E346B0E64}" destId="{2B1EA572-1D39-4812-8794-0DE22AB57DEB}" srcOrd="1" destOrd="0" parTransId="{28444F7B-7F50-491A-90CA-F93A3BE1FD63}" sibTransId="{55EB91EC-04EA-47DF-A975-F774913CCD5A}"/>
    <dgm:cxn modelId="{2D6511E7-AA6F-4752-8BB4-938B658D75D0}" type="presOf" srcId="{D50B1C1D-23F0-4D8E-A49D-C685AB8355E6}" destId="{F8D3E4B6-63BC-4D03-8AB8-DA50D9D29A49}" srcOrd="0" destOrd="0" presId="urn:microsoft.com/office/officeart/2005/8/layout/list1"/>
    <dgm:cxn modelId="{CEA5AAFB-4AAA-4287-8D03-483D8A7D9C13}" srcId="{6D02CA96-1536-4206-B387-E64B77A9B944}" destId="{E31C9269-574D-40DC-8597-EF836EA6138D}" srcOrd="0" destOrd="0" parTransId="{A531E8D6-CE11-40FF-9F60-13B47E301E86}" sibTransId="{27F9A033-BC0D-423A-835B-F4FDA9E8F73C}"/>
    <dgm:cxn modelId="{92A5B395-CB17-4A96-84DA-2735A54B8AE7}" type="presParOf" srcId="{08B70DAC-320A-4DFB-AE24-D56786139EBC}" destId="{C3F0E0A0-DB67-4CF5-8BB0-ABC4A68F0A4A}" srcOrd="0" destOrd="0" presId="urn:microsoft.com/office/officeart/2005/8/layout/list1"/>
    <dgm:cxn modelId="{02B48D59-015E-4C0C-9018-3A1A43E1C399}" type="presParOf" srcId="{C3F0E0A0-DB67-4CF5-8BB0-ABC4A68F0A4A}" destId="{A5F0B516-A2F6-4CE4-BEBA-89B39652612B}" srcOrd="0" destOrd="0" presId="urn:microsoft.com/office/officeart/2005/8/layout/list1"/>
    <dgm:cxn modelId="{2179267F-10F4-4D07-B993-48EC7DF2DCCC}" type="presParOf" srcId="{C3F0E0A0-DB67-4CF5-8BB0-ABC4A68F0A4A}" destId="{3AD40822-D0F7-405C-A43B-CE4D829B28CD}" srcOrd="1" destOrd="0" presId="urn:microsoft.com/office/officeart/2005/8/layout/list1"/>
    <dgm:cxn modelId="{E7DA0E76-6680-45A6-80F1-BD79990030AB}" type="presParOf" srcId="{08B70DAC-320A-4DFB-AE24-D56786139EBC}" destId="{184D5C77-A416-4CC0-8ADD-9843A53F3EE7}" srcOrd="1" destOrd="0" presId="urn:microsoft.com/office/officeart/2005/8/layout/list1"/>
    <dgm:cxn modelId="{CC516943-B873-42EA-9EFC-62B6504F1984}" type="presParOf" srcId="{08B70DAC-320A-4DFB-AE24-D56786139EBC}" destId="{DE49C234-723A-4BDE-AC95-03F9FB295F41}" srcOrd="2" destOrd="0" presId="urn:microsoft.com/office/officeart/2005/8/layout/list1"/>
    <dgm:cxn modelId="{A1EA9B1A-E8F4-4956-BC80-ED04413697CD}" type="presParOf" srcId="{08B70DAC-320A-4DFB-AE24-D56786139EBC}" destId="{2C0F0824-DE7E-439F-9C77-84FDAD889741}" srcOrd="3" destOrd="0" presId="urn:microsoft.com/office/officeart/2005/8/layout/list1"/>
    <dgm:cxn modelId="{2FE754A0-4FEA-4C57-A935-5B704DADEE15}" type="presParOf" srcId="{08B70DAC-320A-4DFB-AE24-D56786139EBC}" destId="{2682F373-D0E2-47DD-8D85-39A7347EAF66}" srcOrd="4" destOrd="0" presId="urn:microsoft.com/office/officeart/2005/8/layout/list1"/>
    <dgm:cxn modelId="{4661C70D-7925-4EE6-BAB2-8DF50B4151D9}" type="presParOf" srcId="{2682F373-D0E2-47DD-8D85-39A7347EAF66}" destId="{EA306DFC-DA3B-4982-AE25-13956C56B7BB}" srcOrd="0" destOrd="0" presId="urn:microsoft.com/office/officeart/2005/8/layout/list1"/>
    <dgm:cxn modelId="{C09EF9D2-8540-4B32-9E4F-902603F49CD3}" type="presParOf" srcId="{2682F373-D0E2-47DD-8D85-39A7347EAF66}" destId="{902416DC-60D1-44E1-A9BA-CB288DCD1D84}" srcOrd="1" destOrd="0" presId="urn:microsoft.com/office/officeart/2005/8/layout/list1"/>
    <dgm:cxn modelId="{96FC8F0F-42CD-4DF4-8A40-20B799001C2E}" type="presParOf" srcId="{08B70DAC-320A-4DFB-AE24-D56786139EBC}" destId="{BDBF67E1-C5D9-4A19-9951-A767C24AF6E2}" srcOrd="5" destOrd="0" presId="urn:microsoft.com/office/officeart/2005/8/layout/list1"/>
    <dgm:cxn modelId="{119853EA-841C-47E2-BF6E-30A24C271DFC}" type="presParOf" srcId="{08B70DAC-320A-4DFB-AE24-D56786139EBC}" destId="{F8D3E4B6-63BC-4D03-8AB8-DA50D9D29A49}"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3FC17F7E-8799-4FFE-A1EE-C810F4CC96E3}"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7AAA4C43-D9DB-4F29-97D7-E3B947716ECF}">
      <dgm:prSet/>
      <dgm:spPr/>
      <dgm:t>
        <a:bodyPr/>
        <a:lstStyle/>
        <a:p>
          <a:r>
            <a:rPr lang="en-US" dirty="0"/>
            <a:t>Up to, and including, SQL Server 2014 (12.x)</a:t>
          </a:r>
        </a:p>
      </dgm:t>
    </dgm:pt>
    <dgm:pt modelId="{4466761A-BD17-4C28-940B-C28E21B379A0}" type="parTrans" cxnId="{DB9DC1ED-1FE5-4FB1-967B-2C9C8724B23E}">
      <dgm:prSet/>
      <dgm:spPr/>
      <dgm:t>
        <a:bodyPr/>
        <a:lstStyle/>
        <a:p>
          <a:endParaRPr lang="en-US"/>
        </a:p>
      </dgm:t>
    </dgm:pt>
    <dgm:pt modelId="{D18106D1-A459-4BFF-A2BA-6425E46DBD38}" type="sibTrans" cxnId="{DB9DC1ED-1FE5-4FB1-967B-2C9C8724B23E}">
      <dgm:prSet/>
      <dgm:spPr/>
      <dgm:t>
        <a:bodyPr/>
        <a:lstStyle/>
        <a:p>
          <a:endParaRPr lang="en-US"/>
        </a:p>
      </dgm:t>
    </dgm:pt>
    <dgm:pt modelId="{5445597E-6F6D-483D-8CAA-595C87CE0824}">
      <dgm:prSet/>
      <dgm:spPr/>
      <dgm:t>
        <a:bodyPr/>
        <a:lstStyle/>
        <a:p>
          <a:r>
            <a:rPr lang="en-US" dirty="0"/>
            <a:t>Trace flag 1118 is used to change default allocation to use uniform extents</a:t>
          </a:r>
        </a:p>
      </dgm:t>
    </dgm:pt>
    <dgm:pt modelId="{C1E45238-B037-4233-A442-01B7335DFA58}" type="parTrans" cxnId="{9386FBEF-21C8-4AC4-A18A-639D5263B30D}">
      <dgm:prSet/>
      <dgm:spPr/>
      <dgm:t>
        <a:bodyPr/>
        <a:lstStyle/>
        <a:p>
          <a:endParaRPr lang="en-US"/>
        </a:p>
      </dgm:t>
    </dgm:pt>
    <dgm:pt modelId="{5945E832-22AE-4E33-815C-7DC34A4E92E3}" type="sibTrans" cxnId="{9386FBEF-21C8-4AC4-A18A-639D5263B30D}">
      <dgm:prSet/>
      <dgm:spPr/>
      <dgm:t>
        <a:bodyPr/>
        <a:lstStyle/>
        <a:p>
          <a:endParaRPr lang="en-US"/>
        </a:p>
      </dgm:t>
    </dgm:pt>
    <dgm:pt modelId="{7F5C0123-C219-49A7-818E-E9F625B5AD27}">
      <dgm:prSet/>
      <dgm:spPr/>
      <dgm:t>
        <a:bodyPr/>
        <a:lstStyle/>
        <a:p>
          <a:r>
            <a:rPr lang="en-US" dirty="0"/>
            <a:t>Starting with SQL Server 2016 (13.x) </a:t>
          </a:r>
        </a:p>
      </dgm:t>
    </dgm:pt>
    <dgm:pt modelId="{F3DB191E-AEC5-4206-8F75-B71379240DA3}" type="parTrans" cxnId="{768C19B3-3739-41E3-BA1E-0C897DF8E18C}">
      <dgm:prSet/>
      <dgm:spPr/>
      <dgm:t>
        <a:bodyPr/>
        <a:lstStyle/>
        <a:p>
          <a:endParaRPr lang="en-US"/>
        </a:p>
      </dgm:t>
    </dgm:pt>
    <dgm:pt modelId="{A7F08836-D840-4C82-A6F1-E8FCB0F2341D}" type="sibTrans" cxnId="{768C19B3-3739-41E3-BA1E-0C897DF8E18C}">
      <dgm:prSet/>
      <dgm:spPr/>
      <dgm:t>
        <a:bodyPr/>
        <a:lstStyle/>
        <a:p>
          <a:endParaRPr lang="en-US"/>
        </a:p>
      </dgm:t>
    </dgm:pt>
    <dgm:pt modelId="{0BEAA0A9-341B-4934-A45F-5E87E1EDFD82}">
      <dgm:prSet/>
      <dgm:spPr/>
      <dgm:t>
        <a:bodyPr/>
        <a:lstStyle/>
        <a:p>
          <a:r>
            <a:rPr lang="en-US" dirty="0"/>
            <a:t>For TempDB: TF 1118 functionality is automatically enabled. </a:t>
          </a:r>
        </a:p>
      </dgm:t>
    </dgm:pt>
    <dgm:pt modelId="{8DC7011F-D8AD-445D-BD69-222D3242E28F}" type="parTrans" cxnId="{01A970F7-EB66-4EFD-B44C-0A836F8B623A}">
      <dgm:prSet/>
      <dgm:spPr/>
      <dgm:t>
        <a:bodyPr/>
        <a:lstStyle/>
        <a:p>
          <a:endParaRPr lang="en-US"/>
        </a:p>
      </dgm:t>
    </dgm:pt>
    <dgm:pt modelId="{5EC97181-A796-47A0-A144-2F3FEF7879B5}" type="sibTrans" cxnId="{01A970F7-EB66-4EFD-B44C-0A836F8B623A}">
      <dgm:prSet/>
      <dgm:spPr/>
      <dgm:t>
        <a:bodyPr/>
        <a:lstStyle/>
        <a:p>
          <a:endParaRPr lang="en-US"/>
        </a:p>
      </dgm:t>
    </dgm:pt>
    <dgm:pt modelId="{ECFB797F-F6BF-4101-9F19-26C04A0EF732}">
      <dgm:prSet/>
      <dgm:spPr/>
      <dgm:t>
        <a:bodyPr/>
        <a:lstStyle/>
        <a:p>
          <a:r>
            <a:rPr lang="en-US" dirty="0"/>
            <a:t>For user databases: behavior controlled with SET MIXED_PAGE_ALLOCATION option of ALTER DATABASE </a:t>
          </a:r>
        </a:p>
      </dgm:t>
    </dgm:pt>
    <dgm:pt modelId="{0D75F6B4-DD2A-4716-9B40-DBB23F0726F5}" type="parTrans" cxnId="{A20E608C-EB31-4EA8-9B59-B044C18E5D6B}">
      <dgm:prSet/>
      <dgm:spPr/>
      <dgm:t>
        <a:bodyPr/>
        <a:lstStyle/>
        <a:p>
          <a:endParaRPr lang="en-US"/>
        </a:p>
      </dgm:t>
    </dgm:pt>
    <dgm:pt modelId="{87011633-9995-4869-AE85-D69022ED095A}" type="sibTrans" cxnId="{A20E608C-EB31-4EA8-9B59-B044C18E5D6B}">
      <dgm:prSet/>
      <dgm:spPr/>
      <dgm:t>
        <a:bodyPr/>
        <a:lstStyle/>
        <a:p>
          <a:endParaRPr lang="en-US"/>
        </a:p>
      </dgm:t>
    </dgm:pt>
    <dgm:pt modelId="{48EF91F3-48BA-4279-A0D7-32A74644C3BD}">
      <dgm:prSet/>
      <dgm:spPr/>
      <dgm:t>
        <a:bodyPr/>
        <a:lstStyle/>
        <a:p>
          <a:r>
            <a:rPr lang="en-US" dirty="0"/>
            <a:t>default value set to OFF</a:t>
          </a:r>
        </a:p>
      </dgm:t>
    </dgm:pt>
    <dgm:pt modelId="{758B058A-5D08-490D-B5FB-737D79F8AAD9}" type="parTrans" cxnId="{A513893A-07B1-4C6A-961C-99CB194FE3A6}">
      <dgm:prSet/>
      <dgm:spPr/>
      <dgm:t>
        <a:bodyPr/>
        <a:lstStyle/>
        <a:p>
          <a:endParaRPr lang="en-US"/>
        </a:p>
      </dgm:t>
    </dgm:pt>
    <dgm:pt modelId="{A9505A1C-B97A-40C6-BE35-8CCEC8CBE37A}" type="sibTrans" cxnId="{A513893A-07B1-4C6A-961C-99CB194FE3A6}">
      <dgm:prSet/>
      <dgm:spPr/>
      <dgm:t>
        <a:bodyPr/>
        <a:lstStyle/>
        <a:p>
          <a:endParaRPr lang="en-US"/>
        </a:p>
      </dgm:t>
    </dgm:pt>
    <dgm:pt modelId="{80F9227B-93EC-4240-B4E6-B48E94D84F7F}">
      <dgm:prSet/>
      <dgm:spPr/>
      <dgm:t>
        <a:bodyPr/>
        <a:lstStyle/>
        <a:p>
          <a:r>
            <a:rPr lang="en-US" dirty="0"/>
            <a:t>TF 1118 has no effect. </a:t>
          </a:r>
        </a:p>
      </dgm:t>
    </dgm:pt>
    <dgm:pt modelId="{127EC1CD-F8BE-4B42-BD5A-CBE212853D92}" type="parTrans" cxnId="{6AC7B767-1EF7-4E04-B391-6218559687AF}">
      <dgm:prSet/>
      <dgm:spPr/>
      <dgm:t>
        <a:bodyPr/>
        <a:lstStyle/>
        <a:p>
          <a:endParaRPr lang="en-US"/>
        </a:p>
      </dgm:t>
    </dgm:pt>
    <dgm:pt modelId="{F0A5A055-7567-4CEE-B944-31068F19BFA6}" type="sibTrans" cxnId="{6AC7B767-1EF7-4E04-B391-6218559687AF}">
      <dgm:prSet/>
      <dgm:spPr/>
      <dgm:t>
        <a:bodyPr/>
        <a:lstStyle/>
        <a:p>
          <a:endParaRPr lang="en-US"/>
        </a:p>
      </dgm:t>
    </dgm:pt>
    <dgm:pt modelId="{8EAE4144-476E-4E43-A493-21D0BD4D4553}" type="pres">
      <dgm:prSet presAssocID="{3FC17F7E-8799-4FFE-A1EE-C810F4CC96E3}" presName="linear" presStyleCnt="0">
        <dgm:presLayoutVars>
          <dgm:dir/>
          <dgm:animLvl val="lvl"/>
          <dgm:resizeHandles val="exact"/>
        </dgm:presLayoutVars>
      </dgm:prSet>
      <dgm:spPr/>
    </dgm:pt>
    <dgm:pt modelId="{58AEB30C-265E-4A68-862B-B8BFCFBB49AF}" type="pres">
      <dgm:prSet presAssocID="{7AAA4C43-D9DB-4F29-97D7-E3B947716ECF}" presName="parentLin" presStyleCnt="0"/>
      <dgm:spPr/>
    </dgm:pt>
    <dgm:pt modelId="{7C5D412E-EC6A-4D9B-8054-38C3BFA5DCC3}" type="pres">
      <dgm:prSet presAssocID="{7AAA4C43-D9DB-4F29-97D7-E3B947716ECF}" presName="parentLeftMargin" presStyleLbl="node1" presStyleIdx="0" presStyleCnt="2"/>
      <dgm:spPr/>
    </dgm:pt>
    <dgm:pt modelId="{8C141144-BE9A-4ADC-8E56-27B68CEDA7A5}" type="pres">
      <dgm:prSet presAssocID="{7AAA4C43-D9DB-4F29-97D7-E3B947716ECF}" presName="parentText" presStyleLbl="node1" presStyleIdx="0" presStyleCnt="2">
        <dgm:presLayoutVars>
          <dgm:chMax val="0"/>
          <dgm:bulletEnabled val="1"/>
        </dgm:presLayoutVars>
      </dgm:prSet>
      <dgm:spPr/>
    </dgm:pt>
    <dgm:pt modelId="{B6BB2708-00C5-4F13-B9CE-4536541B3523}" type="pres">
      <dgm:prSet presAssocID="{7AAA4C43-D9DB-4F29-97D7-E3B947716ECF}" presName="negativeSpace" presStyleCnt="0"/>
      <dgm:spPr/>
    </dgm:pt>
    <dgm:pt modelId="{3926BE7E-BB42-40A4-8B14-2BC2362B0DA7}" type="pres">
      <dgm:prSet presAssocID="{7AAA4C43-D9DB-4F29-97D7-E3B947716ECF}" presName="childText" presStyleLbl="conFgAcc1" presStyleIdx="0" presStyleCnt="2">
        <dgm:presLayoutVars>
          <dgm:bulletEnabled val="1"/>
        </dgm:presLayoutVars>
      </dgm:prSet>
      <dgm:spPr/>
    </dgm:pt>
    <dgm:pt modelId="{9338B91D-26E6-46E2-8736-6ACE584B81E8}" type="pres">
      <dgm:prSet presAssocID="{D18106D1-A459-4BFF-A2BA-6425E46DBD38}" presName="spaceBetweenRectangles" presStyleCnt="0"/>
      <dgm:spPr/>
    </dgm:pt>
    <dgm:pt modelId="{4DAEA224-E93B-4988-B4B9-B139491598B5}" type="pres">
      <dgm:prSet presAssocID="{7F5C0123-C219-49A7-818E-E9F625B5AD27}" presName="parentLin" presStyleCnt="0"/>
      <dgm:spPr/>
    </dgm:pt>
    <dgm:pt modelId="{9F446210-9B41-4CA0-AC4D-0B862685452A}" type="pres">
      <dgm:prSet presAssocID="{7F5C0123-C219-49A7-818E-E9F625B5AD27}" presName="parentLeftMargin" presStyleLbl="node1" presStyleIdx="0" presStyleCnt="2"/>
      <dgm:spPr/>
    </dgm:pt>
    <dgm:pt modelId="{164A6808-8EE2-47A5-93C4-FA0FBCBBA633}" type="pres">
      <dgm:prSet presAssocID="{7F5C0123-C219-49A7-818E-E9F625B5AD27}" presName="parentText" presStyleLbl="node1" presStyleIdx="1" presStyleCnt="2">
        <dgm:presLayoutVars>
          <dgm:chMax val="0"/>
          <dgm:bulletEnabled val="1"/>
        </dgm:presLayoutVars>
      </dgm:prSet>
      <dgm:spPr/>
    </dgm:pt>
    <dgm:pt modelId="{4F4C6E12-71C2-48B6-A5FA-3768193F5C27}" type="pres">
      <dgm:prSet presAssocID="{7F5C0123-C219-49A7-818E-E9F625B5AD27}" presName="negativeSpace" presStyleCnt="0"/>
      <dgm:spPr/>
    </dgm:pt>
    <dgm:pt modelId="{87CA896E-F38B-413B-8D64-35A7D0637E54}" type="pres">
      <dgm:prSet presAssocID="{7F5C0123-C219-49A7-818E-E9F625B5AD27}" presName="childText" presStyleLbl="conFgAcc1" presStyleIdx="1" presStyleCnt="2">
        <dgm:presLayoutVars>
          <dgm:bulletEnabled val="1"/>
        </dgm:presLayoutVars>
      </dgm:prSet>
      <dgm:spPr/>
    </dgm:pt>
  </dgm:ptLst>
  <dgm:cxnLst>
    <dgm:cxn modelId="{0B3B0901-534F-4D29-B231-1F606E8A6E8E}" type="presOf" srcId="{7AAA4C43-D9DB-4F29-97D7-E3B947716ECF}" destId="{7C5D412E-EC6A-4D9B-8054-38C3BFA5DCC3}" srcOrd="0" destOrd="0" presId="urn:microsoft.com/office/officeart/2005/8/layout/list1"/>
    <dgm:cxn modelId="{915E2F16-929D-4395-9BB1-4C77A68C97A9}" type="presOf" srcId="{7F5C0123-C219-49A7-818E-E9F625B5AD27}" destId="{164A6808-8EE2-47A5-93C4-FA0FBCBBA633}" srcOrd="1" destOrd="0" presId="urn:microsoft.com/office/officeart/2005/8/layout/list1"/>
    <dgm:cxn modelId="{C2C6572E-2D3A-4208-B398-A2585418B285}" type="presOf" srcId="{7F5C0123-C219-49A7-818E-E9F625B5AD27}" destId="{9F446210-9B41-4CA0-AC4D-0B862685452A}" srcOrd="0" destOrd="0" presId="urn:microsoft.com/office/officeart/2005/8/layout/list1"/>
    <dgm:cxn modelId="{09216A35-86EC-4FA8-BC49-FF0061EABFB8}" type="presOf" srcId="{80F9227B-93EC-4240-B4E6-B48E94D84F7F}" destId="{87CA896E-F38B-413B-8D64-35A7D0637E54}" srcOrd="0" destOrd="3" presId="urn:microsoft.com/office/officeart/2005/8/layout/list1"/>
    <dgm:cxn modelId="{A513893A-07B1-4C6A-961C-99CB194FE3A6}" srcId="{ECFB797F-F6BF-4101-9F19-26C04A0EF732}" destId="{48EF91F3-48BA-4279-A0D7-32A74644C3BD}" srcOrd="0" destOrd="0" parTransId="{758B058A-5D08-490D-B5FB-737D79F8AAD9}" sibTransId="{A9505A1C-B97A-40C6-BE35-8CCEC8CBE37A}"/>
    <dgm:cxn modelId="{9AAB775F-4776-4843-82FB-32B99FBD7B26}" type="presOf" srcId="{7AAA4C43-D9DB-4F29-97D7-E3B947716ECF}" destId="{8C141144-BE9A-4ADC-8E56-27B68CEDA7A5}" srcOrd="1" destOrd="0" presId="urn:microsoft.com/office/officeart/2005/8/layout/list1"/>
    <dgm:cxn modelId="{6AC7B767-1EF7-4E04-B391-6218559687AF}" srcId="{ECFB797F-F6BF-4101-9F19-26C04A0EF732}" destId="{80F9227B-93EC-4240-B4E6-B48E94D84F7F}" srcOrd="1" destOrd="0" parTransId="{127EC1CD-F8BE-4B42-BD5A-CBE212853D92}" sibTransId="{F0A5A055-7567-4CEE-B944-31068F19BFA6}"/>
    <dgm:cxn modelId="{7DD45674-6F70-4FFC-9755-12B4F241FF84}" type="presOf" srcId="{ECFB797F-F6BF-4101-9F19-26C04A0EF732}" destId="{87CA896E-F38B-413B-8D64-35A7D0637E54}" srcOrd="0" destOrd="1" presId="urn:microsoft.com/office/officeart/2005/8/layout/list1"/>
    <dgm:cxn modelId="{2A61AC5A-C2F9-4B9D-ACFE-4292BA0D63A3}" type="presOf" srcId="{0BEAA0A9-341B-4934-A45F-5E87E1EDFD82}" destId="{87CA896E-F38B-413B-8D64-35A7D0637E54}" srcOrd="0" destOrd="0" presId="urn:microsoft.com/office/officeart/2005/8/layout/list1"/>
    <dgm:cxn modelId="{A20E608C-EB31-4EA8-9B59-B044C18E5D6B}" srcId="{7F5C0123-C219-49A7-818E-E9F625B5AD27}" destId="{ECFB797F-F6BF-4101-9F19-26C04A0EF732}" srcOrd="1" destOrd="0" parTransId="{0D75F6B4-DD2A-4716-9B40-DBB23F0726F5}" sibTransId="{87011633-9995-4869-AE85-D69022ED095A}"/>
    <dgm:cxn modelId="{902F3FA6-06D4-466F-84F6-EBE1E029E909}" type="presOf" srcId="{5445597E-6F6D-483D-8CAA-595C87CE0824}" destId="{3926BE7E-BB42-40A4-8B14-2BC2362B0DA7}" srcOrd="0" destOrd="0" presId="urn:microsoft.com/office/officeart/2005/8/layout/list1"/>
    <dgm:cxn modelId="{768C19B3-3739-41E3-BA1E-0C897DF8E18C}" srcId="{3FC17F7E-8799-4FFE-A1EE-C810F4CC96E3}" destId="{7F5C0123-C219-49A7-818E-E9F625B5AD27}" srcOrd="1" destOrd="0" parTransId="{F3DB191E-AEC5-4206-8F75-B71379240DA3}" sibTransId="{A7F08836-D840-4C82-A6F1-E8FCB0F2341D}"/>
    <dgm:cxn modelId="{DB38E5C1-B5B5-4C6C-9214-681F0FF58738}" type="presOf" srcId="{3FC17F7E-8799-4FFE-A1EE-C810F4CC96E3}" destId="{8EAE4144-476E-4E43-A493-21D0BD4D4553}" srcOrd="0" destOrd="0" presId="urn:microsoft.com/office/officeart/2005/8/layout/list1"/>
    <dgm:cxn modelId="{C2A724EA-7C6A-465D-8236-90410E86CD58}" type="presOf" srcId="{48EF91F3-48BA-4279-A0D7-32A74644C3BD}" destId="{87CA896E-F38B-413B-8D64-35A7D0637E54}" srcOrd="0" destOrd="2" presId="urn:microsoft.com/office/officeart/2005/8/layout/list1"/>
    <dgm:cxn modelId="{DB9DC1ED-1FE5-4FB1-967B-2C9C8724B23E}" srcId="{3FC17F7E-8799-4FFE-A1EE-C810F4CC96E3}" destId="{7AAA4C43-D9DB-4F29-97D7-E3B947716ECF}" srcOrd="0" destOrd="0" parTransId="{4466761A-BD17-4C28-940B-C28E21B379A0}" sibTransId="{D18106D1-A459-4BFF-A2BA-6425E46DBD38}"/>
    <dgm:cxn modelId="{9386FBEF-21C8-4AC4-A18A-639D5263B30D}" srcId="{7AAA4C43-D9DB-4F29-97D7-E3B947716ECF}" destId="{5445597E-6F6D-483D-8CAA-595C87CE0824}" srcOrd="0" destOrd="0" parTransId="{C1E45238-B037-4233-A442-01B7335DFA58}" sibTransId="{5945E832-22AE-4E33-815C-7DC34A4E92E3}"/>
    <dgm:cxn modelId="{01A970F7-EB66-4EFD-B44C-0A836F8B623A}" srcId="{7F5C0123-C219-49A7-818E-E9F625B5AD27}" destId="{0BEAA0A9-341B-4934-A45F-5E87E1EDFD82}" srcOrd="0" destOrd="0" parTransId="{8DC7011F-D8AD-445D-BD69-222D3242E28F}" sibTransId="{5EC97181-A796-47A0-A144-2F3FEF7879B5}"/>
    <dgm:cxn modelId="{D0695E84-1959-461E-AF62-A75B3E7F50B1}" type="presParOf" srcId="{8EAE4144-476E-4E43-A493-21D0BD4D4553}" destId="{58AEB30C-265E-4A68-862B-B8BFCFBB49AF}" srcOrd="0" destOrd="0" presId="urn:microsoft.com/office/officeart/2005/8/layout/list1"/>
    <dgm:cxn modelId="{B440AE2C-5F0E-4EA9-AEE6-AAFBAC96765A}" type="presParOf" srcId="{58AEB30C-265E-4A68-862B-B8BFCFBB49AF}" destId="{7C5D412E-EC6A-4D9B-8054-38C3BFA5DCC3}" srcOrd="0" destOrd="0" presId="urn:microsoft.com/office/officeart/2005/8/layout/list1"/>
    <dgm:cxn modelId="{383E2630-7C3B-4872-BA9B-0A2048FC07A9}" type="presParOf" srcId="{58AEB30C-265E-4A68-862B-B8BFCFBB49AF}" destId="{8C141144-BE9A-4ADC-8E56-27B68CEDA7A5}" srcOrd="1" destOrd="0" presId="urn:microsoft.com/office/officeart/2005/8/layout/list1"/>
    <dgm:cxn modelId="{CF5B96DF-A205-41B0-B496-FB2375B08AFD}" type="presParOf" srcId="{8EAE4144-476E-4E43-A493-21D0BD4D4553}" destId="{B6BB2708-00C5-4F13-B9CE-4536541B3523}" srcOrd="1" destOrd="0" presId="urn:microsoft.com/office/officeart/2005/8/layout/list1"/>
    <dgm:cxn modelId="{853D63F3-0735-48C7-B877-564B54D7403F}" type="presParOf" srcId="{8EAE4144-476E-4E43-A493-21D0BD4D4553}" destId="{3926BE7E-BB42-40A4-8B14-2BC2362B0DA7}" srcOrd="2" destOrd="0" presId="urn:microsoft.com/office/officeart/2005/8/layout/list1"/>
    <dgm:cxn modelId="{0EBF8A5F-4408-4D27-9BE0-AE8D8C9B7FD5}" type="presParOf" srcId="{8EAE4144-476E-4E43-A493-21D0BD4D4553}" destId="{9338B91D-26E6-46E2-8736-6ACE584B81E8}" srcOrd="3" destOrd="0" presId="urn:microsoft.com/office/officeart/2005/8/layout/list1"/>
    <dgm:cxn modelId="{8BCAEFFA-9DBC-4D86-98A9-3CB27DB49915}" type="presParOf" srcId="{8EAE4144-476E-4E43-A493-21D0BD4D4553}" destId="{4DAEA224-E93B-4988-B4B9-B139491598B5}" srcOrd="4" destOrd="0" presId="urn:microsoft.com/office/officeart/2005/8/layout/list1"/>
    <dgm:cxn modelId="{E6CCCD1A-646F-4564-9BD2-BB182ACC76AF}" type="presParOf" srcId="{4DAEA224-E93B-4988-B4B9-B139491598B5}" destId="{9F446210-9B41-4CA0-AC4D-0B862685452A}" srcOrd="0" destOrd="0" presId="urn:microsoft.com/office/officeart/2005/8/layout/list1"/>
    <dgm:cxn modelId="{71100A71-AE7B-4CC4-AA3A-7FA34DA5D023}" type="presParOf" srcId="{4DAEA224-E93B-4988-B4B9-B139491598B5}" destId="{164A6808-8EE2-47A5-93C4-FA0FBCBBA633}" srcOrd="1" destOrd="0" presId="urn:microsoft.com/office/officeart/2005/8/layout/list1"/>
    <dgm:cxn modelId="{D4745C0C-5DAD-4AB9-9E4E-AFFE433ADFAE}" type="presParOf" srcId="{8EAE4144-476E-4E43-A493-21D0BD4D4553}" destId="{4F4C6E12-71C2-48B6-A5FA-3768193F5C27}" srcOrd="5" destOrd="0" presId="urn:microsoft.com/office/officeart/2005/8/layout/list1"/>
    <dgm:cxn modelId="{74F94143-8934-4F99-A22B-0FC3F586E4C3}" type="presParOf" srcId="{8EAE4144-476E-4E43-A493-21D0BD4D4553}" destId="{87CA896E-F38B-413B-8D64-35A7D0637E54}"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A44A496D-BE87-4E12-A35E-5EFBE4B06F53}" type="doc">
      <dgm:prSet loTypeId="urn:microsoft.com/office/officeart/2005/8/layout/vList2" loCatId="list" qsTypeId="urn:microsoft.com/office/officeart/2005/8/quickstyle/simple1" qsCatId="simple" csTypeId="urn:microsoft.com/office/officeart/2005/8/colors/accent2_5" csCatId="accent2"/>
      <dgm:spPr/>
      <dgm:t>
        <a:bodyPr/>
        <a:lstStyle/>
        <a:p>
          <a:endParaRPr lang="en-US"/>
        </a:p>
      </dgm:t>
    </dgm:pt>
    <dgm:pt modelId="{D533C6D7-3C7E-4329-A917-6A1D1A39A955}">
      <dgm:prSet custT="1"/>
      <dgm:spPr/>
      <dgm:t>
        <a:bodyPr/>
        <a:lstStyle/>
        <a:p>
          <a:r>
            <a:rPr lang="en-US" sz="1400" dirty="0"/>
            <a:t>Although BCM pages appear in all databases, they are only relevant when the database is using the bulk-logged recovery model.</a:t>
          </a:r>
        </a:p>
      </dgm:t>
    </dgm:pt>
    <dgm:pt modelId="{5748877B-BCD9-40E1-81E3-F9C6FAC1C661}" type="parTrans" cxnId="{AF7C164F-695B-4934-AC5C-9916AB22A303}">
      <dgm:prSet/>
      <dgm:spPr/>
      <dgm:t>
        <a:bodyPr/>
        <a:lstStyle/>
        <a:p>
          <a:endParaRPr lang="en-US"/>
        </a:p>
      </dgm:t>
    </dgm:pt>
    <dgm:pt modelId="{8C846523-F9BC-482A-A28D-99372CD731B0}" type="sibTrans" cxnId="{AF7C164F-695B-4934-AC5C-9916AB22A303}">
      <dgm:prSet/>
      <dgm:spPr/>
      <dgm:t>
        <a:bodyPr/>
        <a:lstStyle/>
        <a:p>
          <a:endParaRPr lang="en-US"/>
        </a:p>
      </dgm:t>
    </dgm:pt>
    <dgm:pt modelId="{BB840DDB-1274-43EC-A9B7-E3C50FAA3566}" type="pres">
      <dgm:prSet presAssocID="{A44A496D-BE87-4E12-A35E-5EFBE4B06F53}" presName="linear" presStyleCnt="0">
        <dgm:presLayoutVars>
          <dgm:animLvl val="lvl"/>
          <dgm:resizeHandles val="exact"/>
        </dgm:presLayoutVars>
      </dgm:prSet>
      <dgm:spPr/>
    </dgm:pt>
    <dgm:pt modelId="{9A4671BD-453B-4DC7-AB38-1927A49795DB}" type="pres">
      <dgm:prSet presAssocID="{D533C6D7-3C7E-4329-A917-6A1D1A39A955}" presName="parentText" presStyleLbl="node1" presStyleIdx="0" presStyleCnt="1" custLinFactNeighborY="18013">
        <dgm:presLayoutVars>
          <dgm:chMax val="0"/>
          <dgm:bulletEnabled val="1"/>
        </dgm:presLayoutVars>
      </dgm:prSet>
      <dgm:spPr/>
    </dgm:pt>
  </dgm:ptLst>
  <dgm:cxnLst>
    <dgm:cxn modelId="{90D5CF2F-E8B1-4A36-BC62-8A5B7ABC4CC8}" type="presOf" srcId="{D533C6D7-3C7E-4329-A917-6A1D1A39A955}" destId="{9A4671BD-453B-4DC7-AB38-1927A49795DB}" srcOrd="0" destOrd="0" presId="urn:microsoft.com/office/officeart/2005/8/layout/vList2"/>
    <dgm:cxn modelId="{AF7C164F-695B-4934-AC5C-9916AB22A303}" srcId="{A44A496D-BE87-4E12-A35E-5EFBE4B06F53}" destId="{D533C6D7-3C7E-4329-A917-6A1D1A39A955}" srcOrd="0" destOrd="0" parTransId="{5748877B-BCD9-40E1-81E3-F9C6FAC1C661}" sibTransId="{8C846523-F9BC-482A-A28D-99372CD731B0}"/>
    <dgm:cxn modelId="{EBFC09FD-FC71-4360-953C-D968445E200C}" type="presOf" srcId="{A44A496D-BE87-4E12-A35E-5EFBE4B06F53}" destId="{BB840DDB-1274-43EC-A9B7-E3C50FAA3566}" srcOrd="0" destOrd="0" presId="urn:microsoft.com/office/officeart/2005/8/layout/vList2"/>
    <dgm:cxn modelId="{CF58E7B7-1CDF-4F7D-B078-A8684E7F1630}" type="presParOf" srcId="{BB840DDB-1274-43EC-A9B7-E3C50FAA3566}" destId="{9A4671BD-453B-4DC7-AB38-1927A49795DB}"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F60257-3897-4CA9-931C-0AE259394A81}"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A5BDA99D-F128-4511-B48A-7BF30D4585DC}">
      <dgm:prSet phldrT="[Text]"/>
      <dgm:spPr/>
      <dgm:t>
        <a:bodyPr/>
        <a:lstStyle/>
        <a:p>
          <a:r>
            <a:rPr lang="en-US" dirty="0"/>
            <a:t>IN_ROW_DATA</a:t>
          </a:r>
        </a:p>
      </dgm:t>
    </dgm:pt>
    <dgm:pt modelId="{313CBCCC-13DB-4666-A5F8-A8B025081730}" type="parTrans" cxnId="{00B6C034-9209-4203-BFBA-CBEF119AB808}">
      <dgm:prSet/>
      <dgm:spPr/>
      <dgm:t>
        <a:bodyPr/>
        <a:lstStyle/>
        <a:p>
          <a:endParaRPr lang="en-US"/>
        </a:p>
      </dgm:t>
    </dgm:pt>
    <dgm:pt modelId="{D7F94B1D-4AA9-485F-B50B-96EFA191EC0C}" type="sibTrans" cxnId="{00B6C034-9209-4203-BFBA-CBEF119AB808}">
      <dgm:prSet/>
      <dgm:spPr/>
      <dgm:t>
        <a:bodyPr/>
        <a:lstStyle/>
        <a:p>
          <a:endParaRPr lang="en-US"/>
        </a:p>
      </dgm:t>
    </dgm:pt>
    <dgm:pt modelId="{A8357F90-6211-41A3-A3B9-B5DB8578DF52}">
      <dgm:prSet phldrT="[Text]"/>
      <dgm:spPr/>
      <dgm:t>
        <a:bodyPr/>
        <a:lstStyle/>
        <a:p>
          <a:r>
            <a:rPr lang="en-US" dirty="0"/>
            <a:t>LOB_DATA (For out of row storage)</a:t>
          </a:r>
        </a:p>
      </dgm:t>
    </dgm:pt>
    <dgm:pt modelId="{B5130284-BF6C-48DE-981D-917B5FF65B90}" type="parTrans" cxnId="{62812389-BFE8-40A2-87B5-5B8C5CFD5290}">
      <dgm:prSet/>
      <dgm:spPr/>
      <dgm:t>
        <a:bodyPr/>
        <a:lstStyle/>
        <a:p>
          <a:endParaRPr lang="en-US"/>
        </a:p>
      </dgm:t>
    </dgm:pt>
    <dgm:pt modelId="{3F8B007A-FFD3-44AC-8600-298260B75A69}" type="sibTrans" cxnId="{62812389-BFE8-40A2-87B5-5B8C5CFD5290}">
      <dgm:prSet/>
      <dgm:spPr/>
      <dgm:t>
        <a:bodyPr/>
        <a:lstStyle/>
        <a:p>
          <a:endParaRPr lang="en-US"/>
        </a:p>
      </dgm:t>
    </dgm:pt>
    <dgm:pt modelId="{8FA5E645-B0B4-423A-A6E0-A52504E47646}">
      <dgm:prSet phldrT="[Text]"/>
      <dgm:spPr/>
      <dgm:t>
        <a:bodyPr/>
        <a:lstStyle/>
        <a:p>
          <a:r>
            <a:rPr lang="en-US" dirty="0"/>
            <a:t>ROW_OVERFLOW_DATA </a:t>
          </a:r>
        </a:p>
      </dgm:t>
    </dgm:pt>
    <dgm:pt modelId="{ACDAC54A-9438-4DF1-A101-EB3F6E983493}" type="parTrans" cxnId="{64B7A434-32A7-4476-8DFC-D753E395C486}">
      <dgm:prSet/>
      <dgm:spPr/>
      <dgm:t>
        <a:bodyPr/>
        <a:lstStyle/>
        <a:p>
          <a:endParaRPr lang="en-US"/>
        </a:p>
      </dgm:t>
    </dgm:pt>
    <dgm:pt modelId="{BE27BF12-C404-4750-A107-D86481A43F6B}" type="sibTrans" cxnId="{64B7A434-32A7-4476-8DFC-D753E395C486}">
      <dgm:prSet/>
      <dgm:spPr/>
      <dgm:t>
        <a:bodyPr/>
        <a:lstStyle/>
        <a:p>
          <a:endParaRPr lang="en-US"/>
        </a:p>
      </dgm:t>
    </dgm:pt>
    <dgm:pt modelId="{C26FC71B-6007-406B-9247-2B3FC23EC45E}">
      <dgm:prSet/>
      <dgm:spPr/>
      <dgm:t>
        <a:bodyPr/>
        <a:lstStyle/>
        <a:p>
          <a:r>
            <a:rPr lang="en-US" dirty="0"/>
            <a:t>Fixed length data must be store here.</a:t>
          </a:r>
        </a:p>
      </dgm:t>
    </dgm:pt>
    <dgm:pt modelId="{70D56258-3770-44A7-8861-DED26F6AD0E2}" type="parTrans" cxnId="{4A0ACE87-B4B8-4819-B29D-41FB9F7A3A6E}">
      <dgm:prSet/>
      <dgm:spPr/>
      <dgm:t>
        <a:bodyPr/>
        <a:lstStyle/>
        <a:p>
          <a:endParaRPr lang="en-US"/>
        </a:p>
      </dgm:t>
    </dgm:pt>
    <dgm:pt modelId="{E7F3A3BA-D770-48A0-8A4E-B839B4A416D9}" type="sibTrans" cxnId="{4A0ACE87-B4B8-4819-B29D-41FB9F7A3A6E}">
      <dgm:prSet/>
      <dgm:spPr/>
      <dgm:t>
        <a:bodyPr/>
        <a:lstStyle/>
        <a:p>
          <a:endParaRPr lang="en-US"/>
        </a:p>
      </dgm:t>
    </dgm:pt>
    <dgm:pt modelId="{ED88BB0B-4C7A-499B-A9CD-986E81615AEF}">
      <dgm:prSet/>
      <dgm:spPr/>
      <dgm:t>
        <a:bodyPr/>
        <a:lstStyle/>
        <a:p>
          <a:r>
            <a:rPr lang="en-US" dirty="0"/>
            <a:t>Rows cannot extend beyond pages</a:t>
          </a:r>
        </a:p>
      </dgm:t>
    </dgm:pt>
    <dgm:pt modelId="{F92240B6-4F39-4008-B8A3-18DFB137BF0C}" type="parTrans" cxnId="{95403C44-A8D4-4AE8-8E7C-58A2FE8D374F}">
      <dgm:prSet/>
      <dgm:spPr/>
      <dgm:t>
        <a:bodyPr/>
        <a:lstStyle/>
        <a:p>
          <a:endParaRPr lang="en-US"/>
        </a:p>
      </dgm:t>
    </dgm:pt>
    <dgm:pt modelId="{0AC21AAA-4764-42FD-8870-5DAD147F8E70}" type="sibTrans" cxnId="{95403C44-A8D4-4AE8-8E7C-58A2FE8D374F}">
      <dgm:prSet/>
      <dgm:spPr/>
      <dgm:t>
        <a:bodyPr/>
        <a:lstStyle/>
        <a:p>
          <a:endParaRPr lang="en-US"/>
        </a:p>
      </dgm:t>
    </dgm:pt>
    <dgm:pt modelId="{0CE02802-2CAE-46B9-8E1A-6CD2E063D918}">
      <dgm:prSet/>
      <dgm:spPr/>
      <dgm:t>
        <a:bodyPr/>
        <a:lstStyle/>
        <a:p>
          <a:r>
            <a:rPr lang="en-US" dirty="0"/>
            <a:t>Data Page is 8060 bytes</a:t>
          </a:r>
        </a:p>
      </dgm:t>
    </dgm:pt>
    <dgm:pt modelId="{20357974-144A-4AEB-B06D-F8F59F61F838}" type="parTrans" cxnId="{C7F42C92-9A52-4396-B92B-0B282BDDFF74}">
      <dgm:prSet/>
      <dgm:spPr/>
      <dgm:t>
        <a:bodyPr/>
        <a:lstStyle/>
        <a:p>
          <a:endParaRPr lang="en-US"/>
        </a:p>
      </dgm:t>
    </dgm:pt>
    <dgm:pt modelId="{35FAA91F-2DA9-4E8D-B391-B24BB9E695D0}" type="sibTrans" cxnId="{C7F42C92-9A52-4396-B92B-0B282BDDFF74}">
      <dgm:prSet/>
      <dgm:spPr/>
      <dgm:t>
        <a:bodyPr/>
        <a:lstStyle/>
        <a:p>
          <a:endParaRPr lang="en-US"/>
        </a:p>
      </dgm:t>
    </dgm:pt>
    <dgm:pt modelId="{C9B2FCE1-8C83-4316-B039-44F32A1FFDC1}">
      <dgm:prSet/>
      <dgm:spPr/>
      <dgm:t>
        <a:bodyPr/>
        <a:lstStyle/>
        <a:p>
          <a:r>
            <a:rPr lang="en-US" dirty="0"/>
            <a:t>varchar(max) / nvarchar(max) / varbinary(max)</a:t>
          </a:r>
        </a:p>
      </dgm:t>
    </dgm:pt>
    <dgm:pt modelId="{624ECF28-5DBE-4381-A757-A9C989425D5C}" type="parTrans" cxnId="{90815394-2229-4F0D-8D64-01CEFF83EBD2}">
      <dgm:prSet/>
      <dgm:spPr/>
      <dgm:t>
        <a:bodyPr/>
        <a:lstStyle/>
        <a:p>
          <a:endParaRPr lang="en-US"/>
        </a:p>
      </dgm:t>
    </dgm:pt>
    <dgm:pt modelId="{B8B5A3E9-701A-4B26-8417-F3B2EF2BBB0B}" type="sibTrans" cxnId="{90815394-2229-4F0D-8D64-01CEFF83EBD2}">
      <dgm:prSet/>
      <dgm:spPr/>
      <dgm:t>
        <a:bodyPr/>
        <a:lstStyle/>
        <a:p>
          <a:endParaRPr lang="en-US"/>
        </a:p>
      </dgm:t>
    </dgm:pt>
    <dgm:pt modelId="{0B892884-4F41-4B6D-8AE6-CD9B2C659107}">
      <dgm:prSet/>
      <dgm:spPr/>
      <dgm:t>
        <a:bodyPr/>
        <a:lstStyle/>
        <a:p>
          <a:r>
            <a:rPr lang="en-US" dirty="0"/>
            <a:t>16-byte point to out of row tree</a:t>
          </a:r>
        </a:p>
      </dgm:t>
    </dgm:pt>
    <dgm:pt modelId="{06016C8B-E2BD-4BAB-9B05-B600005D4DDA}" type="parTrans" cxnId="{A85B8D7B-EF2F-4587-BFEB-01D6E6CACAAB}">
      <dgm:prSet/>
      <dgm:spPr/>
      <dgm:t>
        <a:bodyPr/>
        <a:lstStyle/>
        <a:p>
          <a:endParaRPr lang="en-US"/>
        </a:p>
      </dgm:t>
    </dgm:pt>
    <dgm:pt modelId="{3543215F-61D2-4D91-A336-2855327CDA3B}" type="sibTrans" cxnId="{A85B8D7B-EF2F-4587-BFEB-01D6E6CACAAB}">
      <dgm:prSet/>
      <dgm:spPr/>
      <dgm:t>
        <a:bodyPr/>
        <a:lstStyle/>
        <a:p>
          <a:endParaRPr lang="en-US"/>
        </a:p>
      </dgm:t>
    </dgm:pt>
    <dgm:pt modelId="{733CB742-2A31-482C-8175-7697CE3DBC6A}">
      <dgm:prSet/>
      <dgm:spPr/>
      <dgm:t>
        <a:bodyPr/>
        <a:lstStyle/>
        <a:p>
          <a:r>
            <a:rPr lang="en-US" dirty="0"/>
            <a:t>Uses text page to store a stream of data</a:t>
          </a:r>
        </a:p>
      </dgm:t>
    </dgm:pt>
    <dgm:pt modelId="{47EAF8BC-0568-484D-818D-DE5277F1D799}" type="parTrans" cxnId="{596E9921-4B11-4700-8F08-702C2B4D90E4}">
      <dgm:prSet/>
      <dgm:spPr/>
      <dgm:t>
        <a:bodyPr/>
        <a:lstStyle/>
        <a:p>
          <a:endParaRPr lang="en-US"/>
        </a:p>
      </dgm:t>
    </dgm:pt>
    <dgm:pt modelId="{14AA8A16-6AD2-4AC5-8A7F-C84DEFBACF2D}" type="sibTrans" cxnId="{596E9921-4B11-4700-8F08-702C2B4D90E4}">
      <dgm:prSet/>
      <dgm:spPr/>
      <dgm:t>
        <a:bodyPr/>
        <a:lstStyle/>
        <a:p>
          <a:endParaRPr lang="en-US"/>
        </a:p>
      </dgm:t>
    </dgm:pt>
    <dgm:pt modelId="{37AE5DB6-5D7E-40A6-B2A5-38D421A5FCF6}">
      <dgm:prSet/>
      <dgm:spPr/>
      <dgm:t>
        <a:bodyPr/>
        <a:lstStyle/>
        <a:p>
          <a:r>
            <a:rPr lang="en-US" dirty="0"/>
            <a:t>varchar(8000) / nvarchar(4000) / varbinary(8000)</a:t>
          </a:r>
        </a:p>
      </dgm:t>
    </dgm:pt>
    <dgm:pt modelId="{EA78B916-2A70-400A-84F1-E18149D9118B}" type="parTrans" cxnId="{38DA21C2-189F-4AF4-A0E3-B22C56478EF1}">
      <dgm:prSet/>
      <dgm:spPr/>
      <dgm:t>
        <a:bodyPr/>
        <a:lstStyle/>
        <a:p>
          <a:endParaRPr lang="en-US"/>
        </a:p>
      </dgm:t>
    </dgm:pt>
    <dgm:pt modelId="{CC69915A-8629-429F-85FB-88EAF2EE1945}" type="sibTrans" cxnId="{38DA21C2-189F-4AF4-A0E3-B22C56478EF1}">
      <dgm:prSet/>
      <dgm:spPr/>
      <dgm:t>
        <a:bodyPr/>
        <a:lstStyle/>
        <a:p>
          <a:endParaRPr lang="en-US"/>
        </a:p>
      </dgm:t>
    </dgm:pt>
    <dgm:pt modelId="{BAB1D937-8256-4BEF-8804-326357BAD934}">
      <dgm:prSet/>
      <dgm:spPr/>
      <dgm:t>
        <a:bodyPr/>
        <a:lstStyle/>
        <a:p>
          <a:r>
            <a:rPr lang="en-US" dirty="0"/>
            <a:t>When a column can’t fit onto a page</a:t>
          </a:r>
        </a:p>
      </dgm:t>
    </dgm:pt>
    <dgm:pt modelId="{F3957BC2-EE2C-47B4-9D35-144DA9C83490}" type="parTrans" cxnId="{8D30F761-409C-426A-A8A7-2AD1FA6E8C75}">
      <dgm:prSet/>
      <dgm:spPr/>
      <dgm:t>
        <a:bodyPr/>
        <a:lstStyle/>
        <a:p>
          <a:endParaRPr lang="en-US"/>
        </a:p>
      </dgm:t>
    </dgm:pt>
    <dgm:pt modelId="{15DECDAA-2308-49FA-A66A-3ACC9F15E2E9}" type="sibTrans" cxnId="{8D30F761-409C-426A-A8A7-2AD1FA6E8C75}">
      <dgm:prSet/>
      <dgm:spPr/>
      <dgm:t>
        <a:bodyPr/>
        <a:lstStyle/>
        <a:p>
          <a:endParaRPr lang="en-US"/>
        </a:p>
      </dgm:t>
    </dgm:pt>
    <dgm:pt modelId="{18CACD65-6291-4278-9201-60DE58C637F5}">
      <dgm:prSet/>
      <dgm:spPr/>
      <dgm:t>
        <a:bodyPr/>
        <a:lstStyle/>
        <a:p>
          <a:r>
            <a:rPr lang="en-US" dirty="0"/>
            <a:t>No control over which column overflows</a:t>
          </a:r>
        </a:p>
      </dgm:t>
    </dgm:pt>
    <dgm:pt modelId="{C3338CA2-4644-4271-B2D3-7843DA63CC27}" type="parTrans" cxnId="{531B3DBE-E338-44F1-974F-F9663EA741C4}">
      <dgm:prSet/>
      <dgm:spPr/>
      <dgm:t>
        <a:bodyPr/>
        <a:lstStyle/>
        <a:p>
          <a:endParaRPr lang="en-US"/>
        </a:p>
      </dgm:t>
    </dgm:pt>
    <dgm:pt modelId="{4EA181B0-CBBE-4824-BA88-6FE269680B0E}" type="sibTrans" cxnId="{531B3DBE-E338-44F1-974F-F9663EA741C4}">
      <dgm:prSet/>
      <dgm:spPr/>
      <dgm:t>
        <a:bodyPr/>
        <a:lstStyle/>
        <a:p>
          <a:endParaRPr lang="en-US"/>
        </a:p>
      </dgm:t>
    </dgm:pt>
    <dgm:pt modelId="{14F71304-7523-4C61-B3FF-10A57A5BC66D}" type="pres">
      <dgm:prSet presAssocID="{94F60257-3897-4CA9-931C-0AE259394A81}" presName="linear" presStyleCnt="0">
        <dgm:presLayoutVars>
          <dgm:dir/>
          <dgm:animLvl val="lvl"/>
          <dgm:resizeHandles val="exact"/>
        </dgm:presLayoutVars>
      </dgm:prSet>
      <dgm:spPr/>
    </dgm:pt>
    <dgm:pt modelId="{5EFDB258-E7E9-4639-9DE2-4DDD1351A346}" type="pres">
      <dgm:prSet presAssocID="{A5BDA99D-F128-4511-B48A-7BF30D4585DC}" presName="parentLin" presStyleCnt="0"/>
      <dgm:spPr/>
    </dgm:pt>
    <dgm:pt modelId="{0B39A00B-2017-40B3-AE69-DC600D82E5D6}" type="pres">
      <dgm:prSet presAssocID="{A5BDA99D-F128-4511-B48A-7BF30D4585DC}" presName="parentLeftMargin" presStyleLbl="node1" presStyleIdx="0" presStyleCnt="3"/>
      <dgm:spPr/>
    </dgm:pt>
    <dgm:pt modelId="{5345CC5A-3CA0-4CD0-885F-750DC14CBE0B}" type="pres">
      <dgm:prSet presAssocID="{A5BDA99D-F128-4511-B48A-7BF30D4585DC}" presName="parentText" presStyleLbl="node1" presStyleIdx="0" presStyleCnt="3">
        <dgm:presLayoutVars>
          <dgm:chMax val="0"/>
          <dgm:bulletEnabled val="1"/>
        </dgm:presLayoutVars>
      </dgm:prSet>
      <dgm:spPr/>
    </dgm:pt>
    <dgm:pt modelId="{8D51E8C6-788C-463D-9416-517BFAF239D1}" type="pres">
      <dgm:prSet presAssocID="{A5BDA99D-F128-4511-B48A-7BF30D4585DC}" presName="negativeSpace" presStyleCnt="0"/>
      <dgm:spPr/>
    </dgm:pt>
    <dgm:pt modelId="{4B0A1F1B-53A7-4E26-A228-B358B2D55A24}" type="pres">
      <dgm:prSet presAssocID="{A5BDA99D-F128-4511-B48A-7BF30D4585DC}" presName="childText" presStyleLbl="conFgAcc1" presStyleIdx="0" presStyleCnt="3">
        <dgm:presLayoutVars>
          <dgm:bulletEnabled val="1"/>
        </dgm:presLayoutVars>
      </dgm:prSet>
      <dgm:spPr/>
    </dgm:pt>
    <dgm:pt modelId="{49C7463E-6B71-4C0C-99E6-739470BBF00E}" type="pres">
      <dgm:prSet presAssocID="{D7F94B1D-4AA9-485F-B50B-96EFA191EC0C}" presName="spaceBetweenRectangles" presStyleCnt="0"/>
      <dgm:spPr/>
    </dgm:pt>
    <dgm:pt modelId="{0895B101-1AC8-4EAD-8D72-1E9145197251}" type="pres">
      <dgm:prSet presAssocID="{A8357F90-6211-41A3-A3B9-B5DB8578DF52}" presName="parentLin" presStyleCnt="0"/>
      <dgm:spPr/>
    </dgm:pt>
    <dgm:pt modelId="{B5543202-2FE9-4E30-B25A-596FA256A2CB}" type="pres">
      <dgm:prSet presAssocID="{A8357F90-6211-41A3-A3B9-B5DB8578DF52}" presName="parentLeftMargin" presStyleLbl="node1" presStyleIdx="0" presStyleCnt="3"/>
      <dgm:spPr/>
    </dgm:pt>
    <dgm:pt modelId="{9AC1164C-B8A9-4BA0-826C-837D06002D2B}" type="pres">
      <dgm:prSet presAssocID="{A8357F90-6211-41A3-A3B9-B5DB8578DF52}" presName="parentText" presStyleLbl="node1" presStyleIdx="1" presStyleCnt="3">
        <dgm:presLayoutVars>
          <dgm:chMax val="0"/>
          <dgm:bulletEnabled val="1"/>
        </dgm:presLayoutVars>
      </dgm:prSet>
      <dgm:spPr/>
    </dgm:pt>
    <dgm:pt modelId="{49DCAD58-D452-4DEA-B44D-9714AC42BB17}" type="pres">
      <dgm:prSet presAssocID="{A8357F90-6211-41A3-A3B9-B5DB8578DF52}" presName="negativeSpace" presStyleCnt="0"/>
      <dgm:spPr/>
    </dgm:pt>
    <dgm:pt modelId="{1BE6CC60-0F0D-46CE-A406-F857BBCCE870}" type="pres">
      <dgm:prSet presAssocID="{A8357F90-6211-41A3-A3B9-B5DB8578DF52}" presName="childText" presStyleLbl="conFgAcc1" presStyleIdx="1" presStyleCnt="3">
        <dgm:presLayoutVars>
          <dgm:bulletEnabled val="1"/>
        </dgm:presLayoutVars>
      </dgm:prSet>
      <dgm:spPr/>
    </dgm:pt>
    <dgm:pt modelId="{7C5B6C29-D72D-462B-A9A2-97BC4E7DE2A1}" type="pres">
      <dgm:prSet presAssocID="{3F8B007A-FFD3-44AC-8600-298260B75A69}" presName="spaceBetweenRectangles" presStyleCnt="0"/>
      <dgm:spPr/>
    </dgm:pt>
    <dgm:pt modelId="{5D99D752-C898-4AC3-BEA6-FAEE27154FB0}" type="pres">
      <dgm:prSet presAssocID="{8FA5E645-B0B4-423A-A6E0-A52504E47646}" presName="parentLin" presStyleCnt="0"/>
      <dgm:spPr/>
    </dgm:pt>
    <dgm:pt modelId="{B4B866C6-89C4-4EC6-86F7-321F9634A816}" type="pres">
      <dgm:prSet presAssocID="{8FA5E645-B0B4-423A-A6E0-A52504E47646}" presName="parentLeftMargin" presStyleLbl="node1" presStyleIdx="1" presStyleCnt="3"/>
      <dgm:spPr/>
    </dgm:pt>
    <dgm:pt modelId="{A2693F37-0C62-4143-8E0A-2BC5D60CCFE2}" type="pres">
      <dgm:prSet presAssocID="{8FA5E645-B0B4-423A-A6E0-A52504E47646}" presName="parentText" presStyleLbl="node1" presStyleIdx="2" presStyleCnt="3">
        <dgm:presLayoutVars>
          <dgm:chMax val="0"/>
          <dgm:bulletEnabled val="1"/>
        </dgm:presLayoutVars>
      </dgm:prSet>
      <dgm:spPr/>
    </dgm:pt>
    <dgm:pt modelId="{B9AB6BDE-446A-49CA-B8BC-BB1E016618EF}" type="pres">
      <dgm:prSet presAssocID="{8FA5E645-B0B4-423A-A6E0-A52504E47646}" presName="negativeSpace" presStyleCnt="0"/>
      <dgm:spPr/>
    </dgm:pt>
    <dgm:pt modelId="{612B4DC7-D7D5-447A-8782-9062D6CCA1B2}" type="pres">
      <dgm:prSet presAssocID="{8FA5E645-B0B4-423A-A6E0-A52504E47646}" presName="childText" presStyleLbl="conFgAcc1" presStyleIdx="2" presStyleCnt="3">
        <dgm:presLayoutVars>
          <dgm:bulletEnabled val="1"/>
        </dgm:presLayoutVars>
      </dgm:prSet>
      <dgm:spPr/>
    </dgm:pt>
  </dgm:ptLst>
  <dgm:cxnLst>
    <dgm:cxn modelId="{8EB42F05-2E96-4CA8-9B16-070E65959556}" type="presOf" srcId="{0CE02802-2CAE-46B9-8E1A-6CD2E063D918}" destId="{4B0A1F1B-53A7-4E26-A228-B358B2D55A24}" srcOrd="0" destOrd="2" presId="urn:microsoft.com/office/officeart/2005/8/layout/list1"/>
    <dgm:cxn modelId="{2B37530F-84FC-4070-BD10-C3E4E0CDE540}" type="presOf" srcId="{C26FC71B-6007-406B-9247-2B3FC23EC45E}" destId="{4B0A1F1B-53A7-4E26-A228-B358B2D55A24}" srcOrd="0" destOrd="0" presId="urn:microsoft.com/office/officeart/2005/8/layout/list1"/>
    <dgm:cxn modelId="{2AF38D13-5876-474A-942A-B0F84191078F}" type="presOf" srcId="{18CACD65-6291-4278-9201-60DE58C637F5}" destId="{612B4DC7-D7D5-447A-8782-9062D6CCA1B2}" srcOrd="0" destOrd="2" presId="urn:microsoft.com/office/officeart/2005/8/layout/list1"/>
    <dgm:cxn modelId="{68C13B1C-BDB7-4D2A-9154-76F92410CB6C}" type="presOf" srcId="{A5BDA99D-F128-4511-B48A-7BF30D4585DC}" destId="{0B39A00B-2017-40B3-AE69-DC600D82E5D6}" srcOrd="0" destOrd="0" presId="urn:microsoft.com/office/officeart/2005/8/layout/list1"/>
    <dgm:cxn modelId="{C309911C-3B2D-444C-8199-63B2853F82C0}" type="presOf" srcId="{8FA5E645-B0B4-423A-A6E0-A52504E47646}" destId="{A2693F37-0C62-4143-8E0A-2BC5D60CCFE2}" srcOrd="1" destOrd="0" presId="urn:microsoft.com/office/officeart/2005/8/layout/list1"/>
    <dgm:cxn modelId="{596E9921-4B11-4700-8F08-702C2B4D90E4}" srcId="{A8357F90-6211-41A3-A3B9-B5DB8578DF52}" destId="{733CB742-2A31-482C-8175-7697CE3DBC6A}" srcOrd="2" destOrd="0" parTransId="{47EAF8BC-0568-484D-818D-DE5277F1D799}" sibTransId="{14AA8A16-6AD2-4AC5-8A7F-C84DEFBACF2D}"/>
    <dgm:cxn modelId="{D79A2D24-4547-44FC-99F1-595D27945C53}" type="presOf" srcId="{BAB1D937-8256-4BEF-8804-326357BAD934}" destId="{612B4DC7-D7D5-447A-8782-9062D6CCA1B2}" srcOrd="0" destOrd="1" presId="urn:microsoft.com/office/officeart/2005/8/layout/list1"/>
    <dgm:cxn modelId="{3C0E4726-F65F-4722-AC57-A9D1BA82992D}" type="presOf" srcId="{C9B2FCE1-8C83-4316-B039-44F32A1FFDC1}" destId="{1BE6CC60-0F0D-46CE-A406-F857BBCCE870}" srcOrd="0" destOrd="0" presId="urn:microsoft.com/office/officeart/2005/8/layout/list1"/>
    <dgm:cxn modelId="{5293B42D-8B07-4D38-8A7B-7AAB3F0A354C}" type="presOf" srcId="{37AE5DB6-5D7E-40A6-B2A5-38D421A5FCF6}" destId="{612B4DC7-D7D5-447A-8782-9062D6CCA1B2}" srcOrd="0" destOrd="0" presId="urn:microsoft.com/office/officeart/2005/8/layout/list1"/>
    <dgm:cxn modelId="{64B7A434-32A7-4476-8DFC-D753E395C486}" srcId="{94F60257-3897-4CA9-931C-0AE259394A81}" destId="{8FA5E645-B0B4-423A-A6E0-A52504E47646}" srcOrd="2" destOrd="0" parTransId="{ACDAC54A-9438-4DF1-A101-EB3F6E983493}" sibTransId="{BE27BF12-C404-4750-A107-D86481A43F6B}"/>
    <dgm:cxn modelId="{00B6C034-9209-4203-BFBA-CBEF119AB808}" srcId="{94F60257-3897-4CA9-931C-0AE259394A81}" destId="{A5BDA99D-F128-4511-B48A-7BF30D4585DC}" srcOrd="0" destOrd="0" parTransId="{313CBCCC-13DB-4666-A5F8-A8B025081730}" sibTransId="{D7F94B1D-4AA9-485F-B50B-96EFA191EC0C}"/>
    <dgm:cxn modelId="{EB006437-CC61-426A-8AAE-16A2AF0F4862}" type="presOf" srcId="{94F60257-3897-4CA9-931C-0AE259394A81}" destId="{14F71304-7523-4C61-B3FF-10A57A5BC66D}" srcOrd="0" destOrd="0" presId="urn:microsoft.com/office/officeart/2005/8/layout/list1"/>
    <dgm:cxn modelId="{8D30F761-409C-426A-A8A7-2AD1FA6E8C75}" srcId="{8FA5E645-B0B4-423A-A6E0-A52504E47646}" destId="{BAB1D937-8256-4BEF-8804-326357BAD934}" srcOrd="1" destOrd="0" parTransId="{F3957BC2-EE2C-47B4-9D35-144DA9C83490}" sibTransId="{15DECDAA-2308-49FA-A66A-3ACC9F15E2E9}"/>
    <dgm:cxn modelId="{95403C44-A8D4-4AE8-8E7C-58A2FE8D374F}" srcId="{A5BDA99D-F128-4511-B48A-7BF30D4585DC}" destId="{ED88BB0B-4C7A-499B-A9CD-986E81615AEF}" srcOrd="1" destOrd="0" parTransId="{F92240B6-4F39-4008-B8A3-18DFB137BF0C}" sibTransId="{0AC21AAA-4764-42FD-8870-5DAD147F8E70}"/>
    <dgm:cxn modelId="{56D05E4A-7673-40C7-A285-B6765C77F75B}" type="presOf" srcId="{0B892884-4F41-4B6D-8AE6-CD9B2C659107}" destId="{1BE6CC60-0F0D-46CE-A406-F857BBCCE870}" srcOrd="0" destOrd="1" presId="urn:microsoft.com/office/officeart/2005/8/layout/list1"/>
    <dgm:cxn modelId="{A85B8D7B-EF2F-4587-BFEB-01D6E6CACAAB}" srcId="{A8357F90-6211-41A3-A3B9-B5DB8578DF52}" destId="{0B892884-4F41-4B6D-8AE6-CD9B2C659107}" srcOrd="1" destOrd="0" parTransId="{06016C8B-E2BD-4BAB-9B05-B600005D4DDA}" sibTransId="{3543215F-61D2-4D91-A336-2855327CDA3B}"/>
    <dgm:cxn modelId="{4A0ACE87-B4B8-4819-B29D-41FB9F7A3A6E}" srcId="{A5BDA99D-F128-4511-B48A-7BF30D4585DC}" destId="{C26FC71B-6007-406B-9247-2B3FC23EC45E}" srcOrd="0" destOrd="0" parTransId="{70D56258-3770-44A7-8861-DED26F6AD0E2}" sibTransId="{E7F3A3BA-D770-48A0-8A4E-B839B4A416D9}"/>
    <dgm:cxn modelId="{62812389-BFE8-40A2-87B5-5B8C5CFD5290}" srcId="{94F60257-3897-4CA9-931C-0AE259394A81}" destId="{A8357F90-6211-41A3-A3B9-B5DB8578DF52}" srcOrd="1" destOrd="0" parTransId="{B5130284-BF6C-48DE-981D-917B5FF65B90}" sibTransId="{3F8B007A-FFD3-44AC-8600-298260B75A69}"/>
    <dgm:cxn modelId="{C7F42C92-9A52-4396-B92B-0B282BDDFF74}" srcId="{A5BDA99D-F128-4511-B48A-7BF30D4585DC}" destId="{0CE02802-2CAE-46B9-8E1A-6CD2E063D918}" srcOrd="2" destOrd="0" parTransId="{20357974-144A-4AEB-B06D-F8F59F61F838}" sibTransId="{35FAA91F-2DA9-4E8D-B391-B24BB9E695D0}"/>
    <dgm:cxn modelId="{90815394-2229-4F0D-8D64-01CEFF83EBD2}" srcId="{A8357F90-6211-41A3-A3B9-B5DB8578DF52}" destId="{C9B2FCE1-8C83-4316-B039-44F32A1FFDC1}" srcOrd="0" destOrd="0" parTransId="{624ECF28-5DBE-4381-A757-A9C989425D5C}" sibTransId="{B8B5A3E9-701A-4B26-8417-F3B2EF2BBB0B}"/>
    <dgm:cxn modelId="{C404F5B1-D4D5-4630-8F4E-B2A18A5C085F}" type="presOf" srcId="{ED88BB0B-4C7A-499B-A9CD-986E81615AEF}" destId="{4B0A1F1B-53A7-4E26-A228-B358B2D55A24}" srcOrd="0" destOrd="1" presId="urn:microsoft.com/office/officeart/2005/8/layout/list1"/>
    <dgm:cxn modelId="{1FB1C3B6-8259-4DDE-925A-3CB729E39FBD}" type="presOf" srcId="{A5BDA99D-F128-4511-B48A-7BF30D4585DC}" destId="{5345CC5A-3CA0-4CD0-885F-750DC14CBE0B}" srcOrd="1" destOrd="0" presId="urn:microsoft.com/office/officeart/2005/8/layout/list1"/>
    <dgm:cxn modelId="{EFC969B9-CFCF-4DBF-8775-81E5753C08CE}" type="presOf" srcId="{A8357F90-6211-41A3-A3B9-B5DB8578DF52}" destId="{B5543202-2FE9-4E30-B25A-596FA256A2CB}" srcOrd="0" destOrd="0" presId="urn:microsoft.com/office/officeart/2005/8/layout/list1"/>
    <dgm:cxn modelId="{531B3DBE-E338-44F1-974F-F9663EA741C4}" srcId="{8FA5E645-B0B4-423A-A6E0-A52504E47646}" destId="{18CACD65-6291-4278-9201-60DE58C637F5}" srcOrd="2" destOrd="0" parTransId="{C3338CA2-4644-4271-B2D3-7843DA63CC27}" sibTransId="{4EA181B0-CBBE-4824-BA88-6FE269680B0E}"/>
    <dgm:cxn modelId="{38DA21C2-189F-4AF4-A0E3-B22C56478EF1}" srcId="{8FA5E645-B0B4-423A-A6E0-A52504E47646}" destId="{37AE5DB6-5D7E-40A6-B2A5-38D421A5FCF6}" srcOrd="0" destOrd="0" parTransId="{EA78B916-2A70-400A-84F1-E18149D9118B}" sibTransId="{CC69915A-8629-429F-85FB-88EAF2EE1945}"/>
    <dgm:cxn modelId="{00D322C5-B0E8-4964-AF01-D81C0D61E7C7}" type="presOf" srcId="{A8357F90-6211-41A3-A3B9-B5DB8578DF52}" destId="{9AC1164C-B8A9-4BA0-826C-837D06002D2B}" srcOrd="1" destOrd="0" presId="urn:microsoft.com/office/officeart/2005/8/layout/list1"/>
    <dgm:cxn modelId="{4D6F69E7-D61C-469C-BF93-AEEF16F3797E}" type="presOf" srcId="{733CB742-2A31-482C-8175-7697CE3DBC6A}" destId="{1BE6CC60-0F0D-46CE-A406-F857BBCCE870}" srcOrd="0" destOrd="2" presId="urn:microsoft.com/office/officeart/2005/8/layout/list1"/>
    <dgm:cxn modelId="{E2BC63FD-FAFB-4917-9813-84AE0C9FA97B}" type="presOf" srcId="{8FA5E645-B0B4-423A-A6E0-A52504E47646}" destId="{B4B866C6-89C4-4EC6-86F7-321F9634A816}" srcOrd="0" destOrd="0" presId="urn:microsoft.com/office/officeart/2005/8/layout/list1"/>
    <dgm:cxn modelId="{C7804D97-ECE2-4C36-9A1D-311177B6EAD1}" type="presParOf" srcId="{14F71304-7523-4C61-B3FF-10A57A5BC66D}" destId="{5EFDB258-E7E9-4639-9DE2-4DDD1351A346}" srcOrd="0" destOrd="0" presId="urn:microsoft.com/office/officeart/2005/8/layout/list1"/>
    <dgm:cxn modelId="{4AA614CB-278F-48B5-9766-795A43218613}" type="presParOf" srcId="{5EFDB258-E7E9-4639-9DE2-4DDD1351A346}" destId="{0B39A00B-2017-40B3-AE69-DC600D82E5D6}" srcOrd="0" destOrd="0" presId="urn:microsoft.com/office/officeart/2005/8/layout/list1"/>
    <dgm:cxn modelId="{77E480E1-F568-47B0-8DDE-BF48AF468084}" type="presParOf" srcId="{5EFDB258-E7E9-4639-9DE2-4DDD1351A346}" destId="{5345CC5A-3CA0-4CD0-885F-750DC14CBE0B}" srcOrd="1" destOrd="0" presId="urn:microsoft.com/office/officeart/2005/8/layout/list1"/>
    <dgm:cxn modelId="{5D135C74-27A0-4BA6-83D0-C96E537C371E}" type="presParOf" srcId="{14F71304-7523-4C61-B3FF-10A57A5BC66D}" destId="{8D51E8C6-788C-463D-9416-517BFAF239D1}" srcOrd="1" destOrd="0" presId="urn:microsoft.com/office/officeart/2005/8/layout/list1"/>
    <dgm:cxn modelId="{04DA6623-18AA-4522-9C73-91FAC275D5F4}" type="presParOf" srcId="{14F71304-7523-4C61-B3FF-10A57A5BC66D}" destId="{4B0A1F1B-53A7-4E26-A228-B358B2D55A24}" srcOrd="2" destOrd="0" presId="urn:microsoft.com/office/officeart/2005/8/layout/list1"/>
    <dgm:cxn modelId="{83404E1F-E8BE-4A15-9683-7B4908548639}" type="presParOf" srcId="{14F71304-7523-4C61-B3FF-10A57A5BC66D}" destId="{49C7463E-6B71-4C0C-99E6-739470BBF00E}" srcOrd="3" destOrd="0" presId="urn:microsoft.com/office/officeart/2005/8/layout/list1"/>
    <dgm:cxn modelId="{E4506EDA-4A78-4B6B-98E2-53C0B8F08AA0}" type="presParOf" srcId="{14F71304-7523-4C61-B3FF-10A57A5BC66D}" destId="{0895B101-1AC8-4EAD-8D72-1E9145197251}" srcOrd="4" destOrd="0" presId="urn:microsoft.com/office/officeart/2005/8/layout/list1"/>
    <dgm:cxn modelId="{7AA318AC-9250-4703-9AB9-638D44C274DD}" type="presParOf" srcId="{0895B101-1AC8-4EAD-8D72-1E9145197251}" destId="{B5543202-2FE9-4E30-B25A-596FA256A2CB}" srcOrd="0" destOrd="0" presId="urn:microsoft.com/office/officeart/2005/8/layout/list1"/>
    <dgm:cxn modelId="{913C5D2B-A9DB-4C26-AA04-994CF7DEF6C6}" type="presParOf" srcId="{0895B101-1AC8-4EAD-8D72-1E9145197251}" destId="{9AC1164C-B8A9-4BA0-826C-837D06002D2B}" srcOrd="1" destOrd="0" presId="urn:microsoft.com/office/officeart/2005/8/layout/list1"/>
    <dgm:cxn modelId="{CC7D30C9-60D2-4BA9-8F0E-A209F77B5462}" type="presParOf" srcId="{14F71304-7523-4C61-B3FF-10A57A5BC66D}" destId="{49DCAD58-D452-4DEA-B44D-9714AC42BB17}" srcOrd="5" destOrd="0" presId="urn:microsoft.com/office/officeart/2005/8/layout/list1"/>
    <dgm:cxn modelId="{CECBBED3-22BE-43F2-9068-1CCDC101E18C}" type="presParOf" srcId="{14F71304-7523-4C61-B3FF-10A57A5BC66D}" destId="{1BE6CC60-0F0D-46CE-A406-F857BBCCE870}" srcOrd="6" destOrd="0" presId="urn:microsoft.com/office/officeart/2005/8/layout/list1"/>
    <dgm:cxn modelId="{A05E78E7-FD23-44D8-8B83-5C2FF3A21805}" type="presParOf" srcId="{14F71304-7523-4C61-B3FF-10A57A5BC66D}" destId="{7C5B6C29-D72D-462B-A9A2-97BC4E7DE2A1}" srcOrd="7" destOrd="0" presId="urn:microsoft.com/office/officeart/2005/8/layout/list1"/>
    <dgm:cxn modelId="{97F1D68E-EBC7-4259-8EBE-513A4BCE8DAA}" type="presParOf" srcId="{14F71304-7523-4C61-B3FF-10A57A5BC66D}" destId="{5D99D752-C898-4AC3-BEA6-FAEE27154FB0}" srcOrd="8" destOrd="0" presId="urn:microsoft.com/office/officeart/2005/8/layout/list1"/>
    <dgm:cxn modelId="{619764FA-0781-4264-9CE7-E1385F77FCC2}" type="presParOf" srcId="{5D99D752-C898-4AC3-BEA6-FAEE27154FB0}" destId="{B4B866C6-89C4-4EC6-86F7-321F9634A816}" srcOrd="0" destOrd="0" presId="urn:microsoft.com/office/officeart/2005/8/layout/list1"/>
    <dgm:cxn modelId="{08F3135A-EC87-4914-9E2A-F5F5A84DB282}" type="presParOf" srcId="{5D99D752-C898-4AC3-BEA6-FAEE27154FB0}" destId="{A2693F37-0C62-4143-8E0A-2BC5D60CCFE2}" srcOrd="1" destOrd="0" presId="urn:microsoft.com/office/officeart/2005/8/layout/list1"/>
    <dgm:cxn modelId="{5213C278-F4AC-4833-9A16-0CB0306F0263}" type="presParOf" srcId="{14F71304-7523-4C61-B3FF-10A57A5BC66D}" destId="{B9AB6BDE-446A-49CA-B8BC-BB1E016618EF}" srcOrd="9" destOrd="0" presId="urn:microsoft.com/office/officeart/2005/8/layout/list1"/>
    <dgm:cxn modelId="{815A72CA-4A95-41AC-8DD7-B6965994A575}" type="presParOf" srcId="{14F71304-7523-4C61-B3FF-10A57A5BC66D}" destId="{612B4DC7-D7D5-447A-8782-9062D6CCA1B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I/O pattern for accessing data files?</a:t>
          </a:r>
        </a:p>
      </dgm:t>
    </dgm:pt>
    <dgm:pt modelId="{74BFB16A-6DC3-47DD-AE97-F15F596B23DF}" type="parTrans" cxnId="{4BB646B5-2A6D-439D-A88F-AC928930541F}">
      <dgm:prSet/>
      <dgm:spPr/>
      <dgm:t>
        <a:bodyPr/>
        <a:lstStyle/>
        <a:p>
          <a:endParaRPr lang="en-US" sz="2000"/>
        </a:p>
      </dgm:t>
    </dgm:pt>
    <dgm:pt modelId="{CAE4D9F8-FDBB-4525-9125-6BAF56328FCE}" type="sibTrans" cxnId="{4BB646B5-2A6D-439D-A88F-AC928930541F}">
      <dgm:prSet/>
      <dgm:spPr/>
      <dgm:t>
        <a:bodyPr/>
        <a:lstStyle/>
        <a:p>
          <a:endParaRPr lang="en-US" sz="2000"/>
        </a:p>
      </dgm:t>
    </dgm:pt>
    <dgm:pt modelId="{418CC07E-60A8-4964-8F8D-DE5072ACF3AE}">
      <dgm:prSet custT="1"/>
      <dgm:spPr/>
      <dgm:t>
        <a:bodyPr/>
        <a:lstStyle/>
        <a:p>
          <a:r>
            <a:rPr lang="en-US" sz="2400" dirty="0"/>
            <a:t>What operations causes write to the data files?</a:t>
          </a:r>
        </a:p>
      </dgm:t>
    </dgm:pt>
    <dgm:pt modelId="{71830CAB-A849-43AF-B52F-0AA1356AE93A}" type="parTrans" cxnId="{F2229882-6A6F-462F-BD41-A3383DD8D81A}">
      <dgm:prSet/>
      <dgm:spPr/>
      <dgm:t>
        <a:bodyPr/>
        <a:lstStyle/>
        <a:p>
          <a:endParaRPr lang="en-US" sz="2000"/>
        </a:p>
      </dgm:t>
    </dgm:pt>
    <dgm:pt modelId="{83A99661-D9FA-4C77-A79E-390DBD588621}" type="sibTrans" cxnId="{F2229882-6A6F-462F-BD41-A3383DD8D81A}">
      <dgm:prSet/>
      <dgm:spPr/>
      <dgm:t>
        <a:bodyPr/>
        <a:lstStyle/>
        <a:p>
          <a:endParaRPr lang="en-US" sz="2000"/>
        </a:p>
      </dgm:t>
    </dgm:pt>
    <dgm:pt modelId="{969344F5-F410-4C65-B866-8B5CFEF8952C}">
      <dgm:prSet custT="1"/>
      <dgm:spPr/>
      <dgm:t>
        <a:bodyPr/>
        <a:lstStyle/>
        <a:p>
          <a:r>
            <a:rPr lang="en-US" sz="2400" dirty="0"/>
            <a:t>What is an extent?</a:t>
          </a:r>
        </a:p>
      </dgm:t>
    </dgm:pt>
    <dgm:pt modelId="{6552ED4C-8EEE-48D3-938A-3E57ACB10186}" type="parTrans" cxnId="{5520C54B-61A7-49C1-9692-F710B713EB41}">
      <dgm:prSet/>
      <dgm:spPr/>
      <dgm:t>
        <a:bodyPr/>
        <a:lstStyle/>
        <a:p>
          <a:endParaRPr lang="en-US" sz="2000"/>
        </a:p>
      </dgm:t>
    </dgm:pt>
    <dgm:pt modelId="{A1F4F9C5-DA92-4DF6-914E-99120A40DCE0}" type="sibTrans" cxnId="{5520C54B-61A7-49C1-9692-F710B713EB41}">
      <dgm:prSet/>
      <dgm:spPr/>
      <dgm:t>
        <a:bodyPr/>
        <a:lstStyle/>
        <a:p>
          <a:endParaRPr lang="en-US" sz="2000"/>
        </a:p>
      </dgm:t>
    </dgm:pt>
    <dgm:pt modelId="{2539C4A6-E1C4-421E-9A76-43A43CD019F1}">
      <dgm:prSet custT="1"/>
      <dgm:spPr/>
      <dgm:t>
        <a:bodyPr/>
        <a:lstStyle/>
        <a:p>
          <a:r>
            <a:rPr lang="en-US" sz="2400" dirty="0"/>
            <a:t>What was the object allocation behavior that changed in SQL Server 2016?</a:t>
          </a:r>
        </a:p>
      </dgm:t>
    </dgm:pt>
    <dgm:pt modelId="{EE408FE7-55DA-4DD2-AF86-B751F04B0560}" type="parTrans" cxnId="{98492234-25A1-433B-AC6D-1D609DCBF9E5}">
      <dgm:prSet/>
      <dgm:spPr/>
      <dgm:t>
        <a:bodyPr/>
        <a:lstStyle/>
        <a:p>
          <a:endParaRPr lang="en-US" sz="2000"/>
        </a:p>
      </dgm:t>
    </dgm:pt>
    <dgm:pt modelId="{3FBAB6A2-0607-4274-9C0A-0E5D7E46D320}" type="sibTrans" cxnId="{98492234-25A1-433B-AC6D-1D609DCBF9E5}">
      <dgm:prSet/>
      <dgm:spPr/>
      <dgm:t>
        <a:bodyPr/>
        <a:lstStyle/>
        <a:p>
          <a:endParaRPr lang="en-US" sz="2000"/>
        </a:p>
      </dgm:t>
    </dgm:pt>
    <dgm:pt modelId="{F8131A31-16A9-4040-8773-13EAB223AACD}">
      <dgm:prSet custT="1"/>
      <dgm:spPr>
        <a:solidFill>
          <a:schemeClr val="hlink"/>
        </a:solidFill>
      </dgm:spPr>
      <dgm:t>
        <a:bodyPr/>
        <a:lstStyle/>
        <a:p>
          <a:r>
            <a:rPr lang="en-US" sz="2400" dirty="0"/>
            <a:t>What special pages are used to control object allocation?</a:t>
          </a:r>
        </a:p>
      </dgm:t>
    </dgm:pt>
    <dgm:pt modelId="{30D614D1-DBA5-486C-8FEB-20079DA5B41E}" type="parTrans" cxnId="{61B9891E-F9D4-4D0B-B764-7A78A5588301}">
      <dgm:prSet/>
      <dgm:spPr/>
      <dgm:t>
        <a:bodyPr/>
        <a:lstStyle/>
        <a:p>
          <a:endParaRPr lang="en-US" sz="2000"/>
        </a:p>
      </dgm:t>
    </dgm:pt>
    <dgm:pt modelId="{02FE5F90-4642-4F58-8B51-624750938668}" type="sibTrans" cxnId="{61B9891E-F9D4-4D0B-B764-7A78A5588301}">
      <dgm:prSet/>
      <dgm:spPr/>
      <dgm:t>
        <a:bodyPr/>
        <a:lstStyle/>
        <a:p>
          <a:endParaRPr lang="en-US" sz="20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5">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DCD90FF5-EA7A-4223-9B76-08522CFA847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DE836A39-3309-4F03-84BF-F54E315C7B63}">
      <dgm:prSet custT="1"/>
      <dgm:spPr/>
      <dgm:t>
        <a:bodyPr/>
        <a:lstStyle/>
        <a:p>
          <a:r>
            <a:rPr lang="en-US" sz="2400" dirty="0"/>
            <a:t>System database</a:t>
          </a:r>
        </a:p>
      </dgm:t>
    </dgm:pt>
    <dgm:pt modelId="{D4EFA143-CC59-4748-851D-631C8E859470}" type="parTrans" cxnId="{75FBE532-3037-4745-96FF-D67AB611623E}">
      <dgm:prSet/>
      <dgm:spPr/>
      <dgm:t>
        <a:bodyPr/>
        <a:lstStyle/>
        <a:p>
          <a:endParaRPr lang="en-US"/>
        </a:p>
      </dgm:t>
    </dgm:pt>
    <dgm:pt modelId="{16378B24-9CC4-4286-A3E0-34500F5BDA5C}" type="sibTrans" cxnId="{75FBE532-3037-4745-96FF-D67AB611623E}">
      <dgm:prSet/>
      <dgm:spPr/>
      <dgm:t>
        <a:bodyPr/>
        <a:lstStyle/>
        <a:p>
          <a:endParaRPr lang="en-US"/>
        </a:p>
      </dgm:t>
    </dgm:pt>
    <dgm:pt modelId="{A5E80232-DB7B-4E7B-B7E1-032B8112E4E5}">
      <dgm:prSet custT="1"/>
      <dgm:spPr/>
      <dgm:t>
        <a:bodyPr/>
        <a:lstStyle/>
        <a:p>
          <a:r>
            <a:rPr lang="en-US" sz="2000" dirty="0"/>
            <a:t>Available to all users with the same structure as user databases. </a:t>
          </a:r>
        </a:p>
      </dgm:t>
    </dgm:pt>
    <dgm:pt modelId="{1A0D18D4-2726-43F3-B624-75E584582522}" type="parTrans" cxnId="{C8CC1E24-DCB8-4CE0-A3DC-55D19B78C949}">
      <dgm:prSet/>
      <dgm:spPr/>
      <dgm:t>
        <a:bodyPr/>
        <a:lstStyle/>
        <a:p>
          <a:endParaRPr lang="en-US"/>
        </a:p>
      </dgm:t>
    </dgm:pt>
    <dgm:pt modelId="{51B3763D-A75D-46E4-9D3B-00C6218A3EEA}" type="sibTrans" cxnId="{C8CC1E24-DCB8-4CE0-A3DC-55D19B78C949}">
      <dgm:prSet/>
      <dgm:spPr/>
      <dgm:t>
        <a:bodyPr/>
        <a:lstStyle/>
        <a:p>
          <a:endParaRPr lang="en-US"/>
        </a:p>
      </dgm:t>
    </dgm:pt>
    <dgm:pt modelId="{017BA5C4-E3E2-45FA-8875-08C66FE2E499}">
      <dgm:prSet custT="1"/>
      <dgm:spPr/>
      <dgm:t>
        <a:bodyPr/>
        <a:lstStyle/>
        <a:p>
          <a:r>
            <a:rPr lang="en-US" sz="2000" dirty="0"/>
            <a:t>Operations are minimally logged.</a:t>
          </a:r>
        </a:p>
      </dgm:t>
    </dgm:pt>
    <dgm:pt modelId="{1809E5DC-EB9A-4919-836E-8B8E22F9D364}" type="parTrans" cxnId="{367DDABD-EEB9-4FF2-A99D-BD67F169A2A6}">
      <dgm:prSet/>
      <dgm:spPr/>
      <dgm:t>
        <a:bodyPr/>
        <a:lstStyle/>
        <a:p>
          <a:endParaRPr lang="en-US"/>
        </a:p>
      </dgm:t>
    </dgm:pt>
    <dgm:pt modelId="{0A52FF1D-DDF1-4EE0-A95E-D9BDD58C9DDE}" type="sibTrans" cxnId="{367DDABD-EEB9-4FF2-A99D-BD67F169A2A6}">
      <dgm:prSet/>
      <dgm:spPr/>
      <dgm:t>
        <a:bodyPr/>
        <a:lstStyle/>
        <a:p>
          <a:endParaRPr lang="en-US"/>
        </a:p>
      </dgm:t>
    </dgm:pt>
    <dgm:pt modelId="{C46CF2FA-61AE-4B3E-990E-287C584C0976}">
      <dgm:prSet custT="1"/>
      <dgm:spPr/>
      <dgm:t>
        <a:bodyPr/>
        <a:lstStyle/>
        <a:p>
          <a:r>
            <a:rPr lang="en-US" sz="2000" dirty="0"/>
            <a:t>Re-created every time SQL Server is started.</a:t>
          </a:r>
        </a:p>
      </dgm:t>
    </dgm:pt>
    <dgm:pt modelId="{D2A0779A-1B70-438E-A4E4-BB5AC92195C6}" type="parTrans" cxnId="{334971EF-A1B3-4AA4-B406-7B5AEBA5D425}">
      <dgm:prSet/>
      <dgm:spPr/>
      <dgm:t>
        <a:bodyPr/>
        <a:lstStyle/>
        <a:p>
          <a:endParaRPr lang="en-US"/>
        </a:p>
      </dgm:t>
    </dgm:pt>
    <dgm:pt modelId="{16338D44-BE16-4F49-A12F-DB689DB99142}" type="sibTrans" cxnId="{334971EF-A1B3-4AA4-B406-7B5AEBA5D425}">
      <dgm:prSet/>
      <dgm:spPr/>
      <dgm:t>
        <a:bodyPr/>
        <a:lstStyle/>
        <a:p>
          <a:endParaRPr lang="en-US"/>
        </a:p>
      </dgm:t>
    </dgm:pt>
    <dgm:pt modelId="{337190E0-1701-4A65-93B4-D872253EA7FD}">
      <dgm:prSet custT="1"/>
      <dgm:spPr/>
      <dgm:t>
        <a:bodyPr/>
        <a:lstStyle/>
        <a:p>
          <a:r>
            <a:rPr lang="en-US" sz="2400" dirty="0"/>
            <a:t>Workload</a:t>
          </a:r>
        </a:p>
      </dgm:t>
    </dgm:pt>
    <dgm:pt modelId="{6F9CF146-A197-47AB-B7F7-48BFF155A271}" type="parTrans" cxnId="{9C2ABAEA-C0C2-4F9E-AE36-6729FAD7C495}">
      <dgm:prSet/>
      <dgm:spPr/>
      <dgm:t>
        <a:bodyPr/>
        <a:lstStyle/>
        <a:p>
          <a:endParaRPr lang="en-US"/>
        </a:p>
      </dgm:t>
    </dgm:pt>
    <dgm:pt modelId="{BBDB79C9-38B6-4E5C-97B1-3F2E4C384E13}" type="sibTrans" cxnId="{9C2ABAEA-C0C2-4F9E-AE36-6729FAD7C495}">
      <dgm:prSet/>
      <dgm:spPr/>
      <dgm:t>
        <a:bodyPr/>
        <a:lstStyle/>
        <a:p>
          <a:endParaRPr lang="en-US"/>
        </a:p>
      </dgm:t>
    </dgm:pt>
    <dgm:pt modelId="{5453A0DB-426E-4D7B-A4CF-DDC6FA198C6D}">
      <dgm:prSet custT="1"/>
      <dgm:spPr/>
      <dgm:t>
        <a:bodyPr/>
        <a:lstStyle/>
        <a:p>
          <a:r>
            <a:rPr lang="en-US" sz="2000" dirty="0"/>
            <a:t>Used for temporary (non-durable) storage.</a:t>
          </a:r>
        </a:p>
      </dgm:t>
    </dgm:pt>
    <dgm:pt modelId="{0EB221C3-A54C-4DF3-B26B-E1EA7B19AB71}" type="parTrans" cxnId="{8A87B0A1-5D29-4504-9DF2-FF6705506C58}">
      <dgm:prSet/>
      <dgm:spPr/>
      <dgm:t>
        <a:bodyPr/>
        <a:lstStyle/>
        <a:p>
          <a:endParaRPr lang="en-US"/>
        </a:p>
      </dgm:t>
    </dgm:pt>
    <dgm:pt modelId="{EA417B57-7F5D-4BEC-82CF-65FB3B018696}" type="sibTrans" cxnId="{8A87B0A1-5D29-4504-9DF2-FF6705506C58}">
      <dgm:prSet/>
      <dgm:spPr/>
      <dgm:t>
        <a:bodyPr/>
        <a:lstStyle/>
        <a:p>
          <a:endParaRPr lang="en-US"/>
        </a:p>
      </dgm:t>
    </dgm:pt>
    <dgm:pt modelId="{749E6B26-780B-4480-89C3-5A20BBDF78EF}">
      <dgm:prSet custT="1"/>
      <dgm:spPr/>
      <dgm:t>
        <a:bodyPr/>
        <a:lstStyle/>
        <a:p>
          <a:r>
            <a:rPr lang="en-US" sz="2000" dirty="0"/>
            <a:t>Object and data frequently being created and destroyed.</a:t>
          </a:r>
        </a:p>
      </dgm:t>
    </dgm:pt>
    <dgm:pt modelId="{81A83B3E-2334-40C3-8795-E4E5D17B1439}" type="parTrans" cxnId="{22B4914F-AB8D-4CFE-87BD-18041C41C3C7}">
      <dgm:prSet/>
      <dgm:spPr/>
      <dgm:t>
        <a:bodyPr/>
        <a:lstStyle/>
        <a:p>
          <a:endParaRPr lang="en-US"/>
        </a:p>
      </dgm:t>
    </dgm:pt>
    <dgm:pt modelId="{DE678A06-FAA1-40EC-820B-A381E6A8B228}" type="sibTrans" cxnId="{22B4914F-AB8D-4CFE-87BD-18041C41C3C7}">
      <dgm:prSet/>
      <dgm:spPr/>
      <dgm:t>
        <a:bodyPr/>
        <a:lstStyle/>
        <a:p>
          <a:endParaRPr lang="en-US"/>
        </a:p>
      </dgm:t>
    </dgm:pt>
    <dgm:pt modelId="{471046A3-D163-4677-963A-97C05BC43610}">
      <dgm:prSet custT="1"/>
      <dgm:spPr/>
      <dgm:t>
        <a:bodyPr/>
        <a:lstStyle/>
        <a:p>
          <a:r>
            <a:rPr lang="en-US" sz="2000" dirty="0"/>
            <a:t>Very high concurrency.</a:t>
          </a:r>
        </a:p>
      </dgm:t>
    </dgm:pt>
    <dgm:pt modelId="{031CB263-830B-4792-95C0-A5C0945755F0}" type="parTrans" cxnId="{38D4D602-E07C-4824-8F8E-A8C196012D93}">
      <dgm:prSet/>
      <dgm:spPr/>
      <dgm:t>
        <a:bodyPr/>
        <a:lstStyle/>
        <a:p>
          <a:endParaRPr lang="en-US"/>
        </a:p>
      </dgm:t>
    </dgm:pt>
    <dgm:pt modelId="{20D750CB-6F9C-4D76-AB0C-CEE37CF5B0FE}" type="sibTrans" cxnId="{38D4D602-E07C-4824-8F8E-A8C196012D93}">
      <dgm:prSet/>
      <dgm:spPr/>
      <dgm:t>
        <a:bodyPr/>
        <a:lstStyle/>
        <a:p>
          <a:endParaRPr lang="en-US"/>
        </a:p>
      </dgm:t>
    </dgm:pt>
    <dgm:pt modelId="{4F5DBEFF-14E5-488D-BA0C-F9D6CB3AE256}">
      <dgm:prSet custT="1"/>
      <dgm:spPr/>
      <dgm:t>
        <a:bodyPr/>
        <a:lstStyle/>
        <a:p>
          <a:r>
            <a:rPr lang="en-US" sz="2000" dirty="0"/>
            <a:t>Backup and restore operations are not allowed on TempDB.</a:t>
          </a:r>
        </a:p>
      </dgm:t>
    </dgm:pt>
    <dgm:pt modelId="{EF4D375E-D198-434D-AFFF-F3E3AEAC47D8}" type="parTrans" cxnId="{31925E09-B391-4F1D-99F0-EC0B6B3CAF05}">
      <dgm:prSet/>
      <dgm:spPr/>
      <dgm:t>
        <a:bodyPr/>
        <a:lstStyle/>
        <a:p>
          <a:endParaRPr lang="en-US"/>
        </a:p>
      </dgm:t>
    </dgm:pt>
    <dgm:pt modelId="{47E29080-9DA0-42EB-A56A-1AB90DE8DE58}" type="sibTrans" cxnId="{31925E09-B391-4F1D-99F0-EC0B6B3CAF05}">
      <dgm:prSet/>
      <dgm:spPr/>
      <dgm:t>
        <a:bodyPr/>
        <a:lstStyle/>
        <a:p>
          <a:endParaRPr lang="en-US"/>
        </a:p>
      </dgm:t>
    </dgm:pt>
    <dgm:pt modelId="{61756BE8-68E3-43B4-9936-1AAC76C7D825}" type="pres">
      <dgm:prSet presAssocID="{DCD90FF5-EA7A-4223-9B76-08522CFA8476}" presName="linear" presStyleCnt="0">
        <dgm:presLayoutVars>
          <dgm:animLvl val="lvl"/>
          <dgm:resizeHandles val="exact"/>
        </dgm:presLayoutVars>
      </dgm:prSet>
      <dgm:spPr/>
    </dgm:pt>
    <dgm:pt modelId="{968D1D30-60A6-4DB2-8BDA-0DE9103DE1B8}" type="pres">
      <dgm:prSet presAssocID="{DE836A39-3309-4F03-84BF-F54E315C7B63}" presName="parentText" presStyleLbl="node1" presStyleIdx="0" presStyleCnt="2">
        <dgm:presLayoutVars>
          <dgm:chMax val="0"/>
          <dgm:bulletEnabled val="1"/>
        </dgm:presLayoutVars>
      </dgm:prSet>
      <dgm:spPr/>
    </dgm:pt>
    <dgm:pt modelId="{0FD744F1-A23D-4BF3-813E-387E30C91F55}" type="pres">
      <dgm:prSet presAssocID="{DE836A39-3309-4F03-84BF-F54E315C7B63}" presName="childText" presStyleLbl="revTx" presStyleIdx="0" presStyleCnt="2">
        <dgm:presLayoutVars>
          <dgm:bulletEnabled val="1"/>
        </dgm:presLayoutVars>
      </dgm:prSet>
      <dgm:spPr/>
    </dgm:pt>
    <dgm:pt modelId="{CAA25F38-B2DB-4408-A535-B349A208603B}" type="pres">
      <dgm:prSet presAssocID="{337190E0-1701-4A65-93B4-D872253EA7FD}" presName="parentText" presStyleLbl="node1" presStyleIdx="1" presStyleCnt="2">
        <dgm:presLayoutVars>
          <dgm:chMax val="0"/>
          <dgm:bulletEnabled val="1"/>
        </dgm:presLayoutVars>
      </dgm:prSet>
      <dgm:spPr/>
    </dgm:pt>
    <dgm:pt modelId="{7BA8DFCE-126A-4113-9751-19225927BD8C}" type="pres">
      <dgm:prSet presAssocID="{337190E0-1701-4A65-93B4-D872253EA7FD}" presName="childText" presStyleLbl="revTx" presStyleIdx="1" presStyleCnt="2">
        <dgm:presLayoutVars>
          <dgm:bulletEnabled val="1"/>
        </dgm:presLayoutVars>
      </dgm:prSet>
      <dgm:spPr/>
    </dgm:pt>
  </dgm:ptLst>
  <dgm:cxnLst>
    <dgm:cxn modelId="{38D4D602-E07C-4824-8F8E-A8C196012D93}" srcId="{337190E0-1701-4A65-93B4-D872253EA7FD}" destId="{471046A3-D163-4677-963A-97C05BC43610}" srcOrd="2" destOrd="0" parTransId="{031CB263-830B-4792-95C0-A5C0945755F0}" sibTransId="{20D750CB-6F9C-4D76-AB0C-CEE37CF5B0FE}"/>
    <dgm:cxn modelId="{31925E09-B391-4F1D-99F0-EC0B6B3CAF05}" srcId="{337190E0-1701-4A65-93B4-D872253EA7FD}" destId="{4F5DBEFF-14E5-488D-BA0C-F9D6CB3AE256}" srcOrd="3" destOrd="0" parTransId="{EF4D375E-D198-434D-AFFF-F3E3AEAC47D8}" sibTransId="{47E29080-9DA0-42EB-A56A-1AB90DE8DE58}"/>
    <dgm:cxn modelId="{69670A10-F717-443D-AD0B-29198477A372}" type="presOf" srcId="{5453A0DB-426E-4D7B-A4CF-DDC6FA198C6D}" destId="{7BA8DFCE-126A-4113-9751-19225927BD8C}" srcOrd="0" destOrd="0" presId="urn:microsoft.com/office/officeart/2005/8/layout/vList2"/>
    <dgm:cxn modelId="{B0DAB515-6D23-4A39-A1DD-E0C88ED0D1DA}" type="presOf" srcId="{749E6B26-780B-4480-89C3-5A20BBDF78EF}" destId="{7BA8DFCE-126A-4113-9751-19225927BD8C}" srcOrd="0" destOrd="1" presId="urn:microsoft.com/office/officeart/2005/8/layout/vList2"/>
    <dgm:cxn modelId="{C8CC1E24-DCB8-4CE0-A3DC-55D19B78C949}" srcId="{DE836A39-3309-4F03-84BF-F54E315C7B63}" destId="{A5E80232-DB7B-4E7B-B7E1-032B8112E4E5}" srcOrd="0" destOrd="0" parTransId="{1A0D18D4-2726-43F3-B624-75E584582522}" sibTransId="{51B3763D-A75D-46E4-9D3B-00C6218A3EEA}"/>
    <dgm:cxn modelId="{F1634A2C-5086-4875-B998-BDE705EE825D}" type="presOf" srcId="{DCD90FF5-EA7A-4223-9B76-08522CFA8476}" destId="{61756BE8-68E3-43B4-9936-1AAC76C7D825}" srcOrd="0" destOrd="0" presId="urn:microsoft.com/office/officeart/2005/8/layout/vList2"/>
    <dgm:cxn modelId="{75FBE532-3037-4745-96FF-D67AB611623E}" srcId="{DCD90FF5-EA7A-4223-9B76-08522CFA8476}" destId="{DE836A39-3309-4F03-84BF-F54E315C7B63}" srcOrd="0" destOrd="0" parTransId="{D4EFA143-CC59-4748-851D-631C8E859470}" sibTransId="{16378B24-9CC4-4286-A3E0-34500F5BDA5C}"/>
    <dgm:cxn modelId="{389E0041-DE55-4DA5-B5C0-077EE0FF826C}" type="presOf" srcId="{A5E80232-DB7B-4E7B-B7E1-032B8112E4E5}" destId="{0FD744F1-A23D-4BF3-813E-387E30C91F55}" srcOrd="0" destOrd="0" presId="urn:microsoft.com/office/officeart/2005/8/layout/vList2"/>
    <dgm:cxn modelId="{131E2062-CF9A-4FF6-9564-A92F3AF51F80}" type="presOf" srcId="{471046A3-D163-4677-963A-97C05BC43610}" destId="{7BA8DFCE-126A-4113-9751-19225927BD8C}" srcOrd="0" destOrd="2" presId="urn:microsoft.com/office/officeart/2005/8/layout/vList2"/>
    <dgm:cxn modelId="{FB4D556E-D32A-4CD8-84E1-5E23C7B9EB1F}" type="presOf" srcId="{337190E0-1701-4A65-93B4-D872253EA7FD}" destId="{CAA25F38-B2DB-4408-A535-B349A208603B}" srcOrd="0" destOrd="0" presId="urn:microsoft.com/office/officeart/2005/8/layout/vList2"/>
    <dgm:cxn modelId="{22B4914F-AB8D-4CFE-87BD-18041C41C3C7}" srcId="{337190E0-1701-4A65-93B4-D872253EA7FD}" destId="{749E6B26-780B-4480-89C3-5A20BBDF78EF}" srcOrd="1" destOrd="0" parTransId="{81A83B3E-2334-40C3-8795-E4E5D17B1439}" sibTransId="{DE678A06-FAA1-40EC-820B-A381E6A8B228}"/>
    <dgm:cxn modelId="{2BF63A95-7DBE-4FB6-A8F6-C69F6DA66E04}" type="presOf" srcId="{017BA5C4-E3E2-45FA-8875-08C66FE2E499}" destId="{0FD744F1-A23D-4BF3-813E-387E30C91F55}" srcOrd="0" destOrd="1" presId="urn:microsoft.com/office/officeart/2005/8/layout/vList2"/>
    <dgm:cxn modelId="{8A87B0A1-5D29-4504-9DF2-FF6705506C58}" srcId="{337190E0-1701-4A65-93B4-D872253EA7FD}" destId="{5453A0DB-426E-4D7B-A4CF-DDC6FA198C6D}" srcOrd="0" destOrd="0" parTransId="{0EB221C3-A54C-4DF3-B26B-E1EA7B19AB71}" sibTransId="{EA417B57-7F5D-4BEC-82CF-65FB3B018696}"/>
    <dgm:cxn modelId="{367DDABD-EEB9-4FF2-A99D-BD67F169A2A6}" srcId="{DE836A39-3309-4F03-84BF-F54E315C7B63}" destId="{017BA5C4-E3E2-45FA-8875-08C66FE2E499}" srcOrd="1" destOrd="0" parTransId="{1809E5DC-EB9A-4919-836E-8B8E22F9D364}" sibTransId="{0A52FF1D-DDF1-4EE0-A95E-D9BDD58C9DDE}"/>
    <dgm:cxn modelId="{B2AB1CC0-E26D-4064-A69C-F2EC4774E188}" type="presOf" srcId="{C46CF2FA-61AE-4B3E-990E-287C584C0976}" destId="{0FD744F1-A23D-4BF3-813E-387E30C91F55}" srcOrd="0" destOrd="2" presId="urn:microsoft.com/office/officeart/2005/8/layout/vList2"/>
    <dgm:cxn modelId="{EC3205D8-8597-4020-844C-1344D065F55F}" type="presOf" srcId="{4F5DBEFF-14E5-488D-BA0C-F9D6CB3AE256}" destId="{7BA8DFCE-126A-4113-9751-19225927BD8C}" srcOrd="0" destOrd="3" presId="urn:microsoft.com/office/officeart/2005/8/layout/vList2"/>
    <dgm:cxn modelId="{3F2EF3E7-BCCB-46B3-89D2-C96CFF465BC8}" type="presOf" srcId="{DE836A39-3309-4F03-84BF-F54E315C7B63}" destId="{968D1D30-60A6-4DB2-8BDA-0DE9103DE1B8}" srcOrd="0" destOrd="0" presId="urn:microsoft.com/office/officeart/2005/8/layout/vList2"/>
    <dgm:cxn modelId="{9C2ABAEA-C0C2-4F9E-AE36-6729FAD7C495}" srcId="{DCD90FF5-EA7A-4223-9B76-08522CFA8476}" destId="{337190E0-1701-4A65-93B4-D872253EA7FD}" srcOrd="1" destOrd="0" parTransId="{6F9CF146-A197-47AB-B7F7-48BFF155A271}" sibTransId="{BBDB79C9-38B6-4E5C-97B1-3F2E4C384E13}"/>
    <dgm:cxn modelId="{334971EF-A1B3-4AA4-B406-7B5AEBA5D425}" srcId="{DE836A39-3309-4F03-84BF-F54E315C7B63}" destId="{C46CF2FA-61AE-4B3E-990E-287C584C0976}" srcOrd="2" destOrd="0" parTransId="{D2A0779A-1B70-438E-A4E4-BB5AC92195C6}" sibTransId="{16338D44-BE16-4F49-A12F-DB689DB99142}"/>
    <dgm:cxn modelId="{B37CC48B-198E-4371-B13E-21072BFDC488}" type="presParOf" srcId="{61756BE8-68E3-43B4-9936-1AAC76C7D825}" destId="{968D1D30-60A6-4DB2-8BDA-0DE9103DE1B8}" srcOrd="0" destOrd="0" presId="urn:microsoft.com/office/officeart/2005/8/layout/vList2"/>
    <dgm:cxn modelId="{9E1C957F-E19B-499D-A23A-CA80F5727E5F}" type="presParOf" srcId="{61756BE8-68E3-43B4-9936-1AAC76C7D825}" destId="{0FD744F1-A23D-4BF3-813E-387E30C91F55}" srcOrd="1" destOrd="0" presId="urn:microsoft.com/office/officeart/2005/8/layout/vList2"/>
    <dgm:cxn modelId="{5961E616-8145-4D31-98D2-44514D054917}" type="presParOf" srcId="{61756BE8-68E3-43B4-9936-1AAC76C7D825}" destId="{CAA25F38-B2DB-4408-A535-B349A208603B}" srcOrd="2" destOrd="0" presId="urn:microsoft.com/office/officeart/2005/8/layout/vList2"/>
    <dgm:cxn modelId="{F47E0FD8-C602-42E1-8F40-6584A7E93D6C}" type="presParOf" srcId="{61756BE8-68E3-43B4-9936-1AAC76C7D825}" destId="{7BA8DFCE-126A-4113-9751-19225927BD8C}"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174E31D-C529-403D-AC76-50C5CE4997EC}"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A7C492CD-EAB0-4FED-9396-DE1F9F6CB5A0}">
      <dgm:prSet/>
      <dgm:spPr/>
      <dgm:t>
        <a:bodyPr/>
        <a:lstStyle/>
        <a:p>
          <a:r>
            <a:rPr lang="en-US" baseline="0" dirty="0"/>
            <a:t>Temporary user objects</a:t>
          </a:r>
          <a:endParaRPr lang="en-US" dirty="0"/>
        </a:p>
      </dgm:t>
    </dgm:pt>
    <dgm:pt modelId="{9ABB33C0-F512-4819-B143-E69A90D476B5}" type="parTrans" cxnId="{F73CCDF5-49D2-4EFD-846B-60430BEA845A}">
      <dgm:prSet/>
      <dgm:spPr/>
      <dgm:t>
        <a:bodyPr/>
        <a:lstStyle/>
        <a:p>
          <a:endParaRPr lang="en-US"/>
        </a:p>
      </dgm:t>
    </dgm:pt>
    <dgm:pt modelId="{6329659F-5CC5-4855-8F87-D3C737DBD6BF}" type="sibTrans" cxnId="{F73CCDF5-49D2-4EFD-846B-60430BEA845A}">
      <dgm:prSet/>
      <dgm:spPr/>
      <dgm:t>
        <a:bodyPr/>
        <a:lstStyle/>
        <a:p>
          <a:endParaRPr lang="en-US"/>
        </a:p>
      </dgm:t>
    </dgm:pt>
    <dgm:pt modelId="{9DBA518B-8AA9-4FB1-A324-0CCE984B4AFA}">
      <dgm:prSet/>
      <dgm:spPr/>
      <dgm:t>
        <a:bodyPr/>
        <a:lstStyle/>
        <a:p>
          <a:r>
            <a:rPr lang="en-US" baseline="0" dirty="0"/>
            <a:t>Global or local temporary tables and indexes</a:t>
          </a:r>
          <a:endParaRPr lang="en-US" dirty="0"/>
        </a:p>
      </dgm:t>
    </dgm:pt>
    <dgm:pt modelId="{0760BBC0-A45D-480A-99F4-B8CB0420CAA6}" type="parTrans" cxnId="{76CC47A8-4BAD-4E56-A62A-1F9A2F3A4D33}">
      <dgm:prSet/>
      <dgm:spPr/>
      <dgm:t>
        <a:bodyPr/>
        <a:lstStyle/>
        <a:p>
          <a:endParaRPr lang="en-US"/>
        </a:p>
      </dgm:t>
    </dgm:pt>
    <dgm:pt modelId="{26CD1A15-7D5D-49AC-85AB-2283AE74D58C}" type="sibTrans" cxnId="{76CC47A8-4BAD-4E56-A62A-1F9A2F3A4D33}">
      <dgm:prSet/>
      <dgm:spPr/>
      <dgm:t>
        <a:bodyPr/>
        <a:lstStyle/>
        <a:p>
          <a:endParaRPr lang="en-US"/>
        </a:p>
      </dgm:t>
    </dgm:pt>
    <dgm:pt modelId="{238D225D-88E6-4149-8294-61A67C9E27C7}">
      <dgm:prSet/>
      <dgm:spPr/>
      <dgm:t>
        <a:bodyPr/>
        <a:lstStyle/>
        <a:p>
          <a:r>
            <a:rPr lang="en-US" baseline="0" dirty="0"/>
            <a:t>Temporary stored procedures</a:t>
          </a:r>
          <a:endParaRPr lang="en-US" dirty="0"/>
        </a:p>
      </dgm:t>
    </dgm:pt>
    <dgm:pt modelId="{C60619BC-D45A-4077-9960-B7FA0EFB523B}" type="parTrans" cxnId="{916F8D82-CE23-4C4D-9D00-E8EE09CCF955}">
      <dgm:prSet/>
      <dgm:spPr/>
      <dgm:t>
        <a:bodyPr/>
        <a:lstStyle/>
        <a:p>
          <a:endParaRPr lang="en-US"/>
        </a:p>
      </dgm:t>
    </dgm:pt>
    <dgm:pt modelId="{55AFD1D4-FC00-4691-A222-6B4ED0F07C6A}" type="sibTrans" cxnId="{916F8D82-CE23-4C4D-9D00-E8EE09CCF955}">
      <dgm:prSet/>
      <dgm:spPr/>
      <dgm:t>
        <a:bodyPr/>
        <a:lstStyle/>
        <a:p>
          <a:endParaRPr lang="en-US"/>
        </a:p>
      </dgm:t>
    </dgm:pt>
    <dgm:pt modelId="{65CEB372-B9DE-4E55-9337-F45BD1C4614F}">
      <dgm:prSet/>
      <dgm:spPr/>
      <dgm:t>
        <a:bodyPr/>
        <a:lstStyle/>
        <a:p>
          <a:r>
            <a:rPr lang="en-US" baseline="0" dirty="0"/>
            <a:t>Table variables</a:t>
          </a:r>
          <a:endParaRPr lang="en-US" dirty="0"/>
        </a:p>
      </dgm:t>
    </dgm:pt>
    <dgm:pt modelId="{A3091423-43F5-45DF-918F-A97038A17818}" type="parTrans" cxnId="{9CBBE898-9EE9-4E89-9371-FEB3BF18A173}">
      <dgm:prSet/>
      <dgm:spPr/>
      <dgm:t>
        <a:bodyPr/>
        <a:lstStyle/>
        <a:p>
          <a:endParaRPr lang="en-US"/>
        </a:p>
      </dgm:t>
    </dgm:pt>
    <dgm:pt modelId="{B5A04C4F-F478-4042-8235-A1013AAD4BFE}" type="sibTrans" cxnId="{9CBBE898-9EE9-4E89-9371-FEB3BF18A173}">
      <dgm:prSet/>
      <dgm:spPr/>
      <dgm:t>
        <a:bodyPr/>
        <a:lstStyle/>
        <a:p>
          <a:endParaRPr lang="en-US"/>
        </a:p>
      </dgm:t>
    </dgm:pt>
    <dgm:pt modelId="{D0D826C2-600F-4093-BC1A-18C65D82742C}">
      <dgm:prSet/>
      <dgm:spPr/>
      <dgm:t>
        <a:bodyPr/>
        <a:lstStyle/>
        <a:p>
          <a:r>
            <a:rPr lang="en-US" baseline="0" dirty="0"/>
            <a:t>Tables returned in table-valued functions, or cursors</a:t>
          </a:r>
          <a:endParaRPr lang="en-US" dirty="0"/>
        </a:p>
      </dgm:t>
    </dgm:pt>
    <dgm:pt modelId="{B006E4A6-1D09-40D4-B7DB-07023A50B81C}" type="parTrans" cxnId="{5F5F56AB-2D1B-4E4B-84E6-728AD71BD336}">
      <dgm:prSet/>
      <dgm:spPr/>
      <dgm:t>
        <a:bodyPr/>
        <a:lstStyle/>
        <a:p>
          <a:endParaRPr lang="en-US"/>
        </a:p>
      </dgm:t>
    </dgm:pt>
    <dgm:pt modelId="{49875D2D-26C9-4CF9-B775-B65BC06978B0}" type="sibTrans" cxnId="{5F5F56AB-2D1B-4E4B-84E6-728AD71BD336}">
      <dgm:prSet/>
      <dgm:spPr/>
      <dgm:t>
        <a:bodyPr/>
        <a:lstStyle/>
        <a:p>
          <a:endParaRPr lang="en-US"/>
        </a:p>
      </dgm:t>
    </dgm:pt>
    <dgm:pt modelId="{8F7BF719-AC76-46B8-8CF1-4FD3B594CA71}">
      <dgm:prSet/>
      <dgm:spPr/>
      <dgm:t>
        <a:bodyPr/>
        <a:lstStyle/>
        <a:p>
          <a:r>
            <a:rPr lang="en-US" baseline="0" dirty="0"/>
            <a:t>Internal objects </a:t>
          </a:r>
          <a:endParaRPr lang="en-US" dirty="0"/>
        </a:p>
      </dgm:t>
    </dgm:pt>
    <dgm:pt modelId="{54DC54A1-B6BD-4353-8F43-A1FF9E14CC1C}" type="parTrans" cxnId="{569033D9-830B-4DB6-A2D4-7956660A21A6}">
      <dgm:prSet/>
      <dgm:spPr/>
      <dgm:t>
        <a:bodyPr/>
        <a:lstStyle/>
        <a:p>
          <a:endParaRPr lang="en-US"/>
        </a:p>
      </dgm:t>
    </dgm:pt>
    <dgm:pt modelId="{1E1CD749-9EBC-4161-8521-215E4A22D257}" type="sibTrans" cxnId="{569033D9-830B-4DB6-A2D4-7956660A21A6}">
      <dgm:prSet/>
      <dgm:spPr/>
      <dgm:t>
        <a:bodyPr/>
        <a:lstStyle/>
        <a:p>
          <a:endParaRPr lang="en-US"/>
        </a:p>
      </dgm:t>
    </dgm:pt>
    <dgm:pt modelId="{D512C06E-ED5A-4631-83F4-A69A93EE1934}">
      <dgm:prSet/>
      <dgm:spPr/>
      <dgm:t>
        <a:bodyPr/>
        <a:lstStyle/>
        <a:p>
          <a:r>
            <a:rPr lang="en-US" baseline="0" dirty="0"/>
            <a:t>Worktables to store intermediate results for spools, cursors, sorts, and temporary LOB storage.</a:t>
          </a:r>
          <a:endParaRPr lang="en-US" dirty="0"/>
        </a:p>
      </dgm:t>
    </dgm:pt>
    <dgm:pt modelId="{3A90B544-CBD5-4ECC-9827-FE8DB7823369}" type="parTrans" cxnId="{52069C64-0550-4058-A05A-F0FC4B0517A4}">
      <dgm:prSet/>
      <dgm:spPr/>
      <dgm:t>
        <a:bodyPr/>
        <a:lstStyle/>
        <a:p>
          <a:endParaRPr lang="en-US"/>
        </a:p>
      </dgm:t>
    </dgm:pt>
    <dgm:pt modelId="{4BEEC7D9-2299-4890-A812-628C4BEDABAC}" type="sibTrans" cxnId="{52069C64-0550-4058-A05A-F0FC4B0517A4}">
      <dgm:prSet/>
      <dgm:spPr/>
      <dgm:t>
        <a:bodyPr/>
        <a:lstStyle/>
        <a:p>
          <a:endParaRPr lang="en-US"/>
        </a:p>
      </dgm:t>
    </dgm:pt>
    <dgm:pt modelId="{97FF3DA0-21EA-43D1-B4ED-DB075A709C40}">
      <dgm:prSet/>
      <dgm:spPr/>
      <dgm:t>
        <a:bodyPr/>
        <a:lstStyle/>
        <a:p>
          <a:r>
            <a:rPr lang="en-US" baseline="0" dirty="0"/>
            <a:t>Work files for hash join or hash aggregate operations.</a:t>
          </a:r>
          <a:endParaRPr lang="en-US" dirty="0"/>
        </a:p>
      </dgm:t>
    </dgm:pt>
    <dgm:pt modelId="{35697707-432F-433B-ACA6-B9C312DF7518}" type="parTrans" cxnId="{8E7DF8E2-4DCE-42C5-843B-86F3B3F2582C}">
      <dgm:prSet/>
      <dgm:spPr/>
      <dgm:t>
        <a:bodyPr/>
        <a:lstStyle/>
        <a:p>
          <a:endParaRPr lang="en-US"/>
        </a:p>
      </dgm:t>
    </dgm:pt>
    <dgm:pt modelId="{865967F7-5176-444E-BD65-C8727E33F827}" type="sibTrans" cxnId="{8E7DF8E2-4DCE-42C5-843B-86F3B3F2582C}">
      <dgm:prSet/>
      <dgm:spPr/>
      <dgm:t>
        <a:bodyPr/>
        <a:lstStyle/>
        <a:p>
          <a:endParaRPr lang="en-US"/>
        </a:p>
      </dgm:t>
    </dgm:pt>
    <dgm:pt modelId="{CF5F919C-B4EA-457E-98C7-2B89DCEB0C8E}">
      <dgm:prSet/>
      <dgm:spPr/>
      <dgm:t>
        <a:bodyPr/>
        <a:lstStyle/>
        <a:p>
          <a:r>
            <a:rPr lang="en-US" baseline="0" dirty="0"/>
            <a:t>Intermediate sort results for operations such as creating or rebuilding indexes (if SORT_IN_TEMPDB is specified), or certain GROUP BY, ORDER BY, or UNION queries.</a:t>
          </a:r>
          <a:endParaRPr lang="en-US" dirty="0"/>
        </a:p>
      </dgm:t>
    </dgm:pt>
    <dgm:pt modelId="{41910561-9D8A-4CBF-BD87-4E24FC05F8F0}" type="parTrans" cxnId="{67CE52EF-01EC-4D68-983C-306BB54190E4}">
      <dgm:prSet/>
      <dgm:spPr/>
      <dgm:t>
        <a:bodyPr/>
        <a:lstStyle/>
        <a:p>
          <a:endParaRPr lang="en-US"/>
        </a:p>
      </dgm:t>
    </dgm:pt>
    <dgm:pt modelId="{CA596D42-873F-4CCB-B7FD-D80403FA8E71}" type="sibTrans" cxnId="{67CE52EF-01EC-4D68-983C-306BB54190E4}">
      <dgm:prSet/>
      <dgm:spPr/>
      <dgm:t>
        <a:bodyPr/>
        <a:lstStyle/>
        <a:p>
          <a:endParaRPr lang="en-US"/>
        </a:p>
      </dgm:t>
    </dgm:pt>
    <dgm:pt modelId="{2CC627DF-7F70-488F-92AC-983780487FD0}">
      <dgm:prSet/>
      <dgm:spPr/>
      <dgm:t>
        <a:bodyPr/>
        <a:lstStyle/>
        <a:p>
          <a:r>
            <a:rPr lang="en-US" baseline="0" dirty="0"/>
            <a:t>Version stores </a:t>
          </a:r>
          <a:endParaRPr lang="en-US" dirty="0"/>
        </a:p>
      </dgm:t>
    </dgm:pt>
    <dgm:pt modelId="{E1EC9124-7FD7-445D-9202-3069AB01D35D}" type="parTrans" cxnId="{FC3F5D4A-EF8F-4BA5-9F24-959636141E84}">
      <dgm:prSet/>
      <dgm:spPr/>
      <dgm:t>
        <a:bodyPr/>
        <a:lstStyle/>
        <a:p>
          <a:endParaRPr lang="en-US"/>
        </a:p>
      </dgm:t>
    </dgm:pt>
    <dgm:pt modelId="{02357563-8CE1-427C-81D9-4931996B3D0E}" type="sibTrans" cxnId="{FC3F5D4A-EF8F-4BA5-9F24-959636141E84}">
      <dgm:prSet/>
      <dgm:spPr/>
      <dgm:t>
        <a:bodyPr/>
        <a:lstStyle/>
        <a:p>
          <a:endParaRPr lang="en-US"/>
        </a:p>
      </dgm:t>
    </dgm:pt>
    <dgm:pt modelId="{2E1DE7CF-9CA4-4438-B459-537CE09989B9}">
      <dgm:prSet/>
      <dgm:spPr/>
      <dgm:t>
        <a:bodyPr/>
        <a:lstStyle/>
        <a:p>
          <a:r>
            <a:rPr lang="en-US" baseline="0" dirty="0"/>
            <a:t>Common version store </a:t>
          </a:r>
          <a:endParaRPr lang="en-US" dirty="0"/>
        </a:p>
      </dgm:t>
    </dgm:pt>
    <dgm:pt modelId="{44EF7E84-5862-4BDF-ADD5-5FEFC970F068}" type="parTrans" cxnId="{AAF788FE-AA15-44CA-A8AC-81C26348E5A2}">
      <dgm:prSet/>
      <dgm:spPr/>
      <dgm:t>
        <a:bodyPr/>
        <a:lstStyle/>
        <a:p>
          <a:endParaRPr lang="en-US"/>
        </a:p>
      </dgm:t>
    </dgm:pt>
    <dgm:pt modelId="{FBEB2248-2D81-429F-BB0A-4AC382A907B2}" type="sibTrans" cxnId="{AAF788FE-AA15-44CA-A8AC-81C26348E5A2}">
      <dgm:prSet/>
      <dgm:spPr/>
      <dgm:t>
        <a:bodyPr/>
        <a:lstStyle/>
        <a:p>
          <a:endParaRPr lang="en-US"/>
        </a:p>
      </dgm:t>
    </dgm:pt>
    <dgm:pt modelId="{0BD00771-9515-42B9-A5C3-BA4947945744}">
      <dgm:prSet/>
      <dgm:spPr/>
      <dgm:t>
        <a:bodyPr/>
        <a:lstStyle/>
        <a:p>
          <a:r>
            <a:rPr lang="en-US" baseline="0" dirty="0"/>
            <a:t>Online-index-build version store</a:t>
          </a:r>
          <a:endParaRPr lang="en-US" dirty="0"/>
        </a:p>
      </dgm:t>
    </dgm:pt>
    <dgm:pt modelId="{FE783BAF-0C50-4B74-9E65-85717605A591}" type="parTrans" cxnId="{CF8BD63F-E4B7-46AD-AA5B-47906F609500}">
      <dgm:prSet/>
      <dgm:spPr/>
      <dgm:t>
        <a:bodyPr/>
        <a:lstStyle/>
        <a:p>
          <a:endParaRPr lang="en-US"/>
        </a:p>
      </dgm:t>
    </dgm:pt>
    <dgm:pt modelId="{FD7282DF-8F0A-4651-BBF9-5A823B7160DD}" type="sibTrans" cxnId="{CF8BD63F-E4B7-46AD-AA5B-47906F609500}">
      <dgm:prSet/>
      <dgm:spPr/>
      <dgm:t>
        <a:bodyPr/>
        <a:lstStyle/>
        <a:p>
          <a:endParaRPr lang="en-US"/>
        </a:p>
      </dgm:t>
    </dgm:pt>
    <dgm:pt modelId="{22893709-E9EC-4614-B124-E6D1182940A6}" type="pres">
      <dgm:prSet presAssocID="{4174E31D-C529-403D-AC76-50C5CE4997EC}" presName="Name0" presStyleCnt="0">
        <dgm:presLayoutVars>
          <dgm:dir/>
          <dgm:animLvl val="lvl"/>
          <dgm:resizeHandles val="exact"/>
        </dgm:presLayoutVars>
      </dgm:prSet>
      <dgm:spPr/>
    </dgm:pt>
    <dgm:pt modelId="{4F72724F-95D4-4100-8A18-2BD35BBDC354}" type="pres">
      <dgm:prSet presAssocID="{A7C492CD-EAB0-4FED-9396-DE1F9F6CB5A0}" presName="linNode" presStyleCnt="0"/>
      <dgm:spPr/>
    </dgm:pt>
    <dgm:pt modelId="{4E96B2B8-6208-4F6B-9690-912A909F316F}" type="pres">
      <dgm:prSet presAssocID="{A7C492CD-EAB0-4FED-9396-DE1F9F6CB5A0}" presName="parentText" presStyleLbl="node1" presStyleIdx="0" presStyleCnt="3" custScaleX="64984" custLinFactNeighborX="-8321" custLinFactNeighborY="1192">
        <dgm:presLayoutVars>
          <dgm:chMax val="1"/>
          <dgm:bulletEnabled val="1"/>
        </dgm:presLayoutVars>
      </dgm:prSet>
      <dgm:spPr/>
    </dgm:pt>
    <dgm:pt modelId="{4BB7A34F-A809-42F9-8833-0BB6817FBEE5}" type="pres">
      <dgm:prSet presAssocID="{A7C492CD-EAB0-4FED-9396-DE1F9F6CB5A0}" presName="descendantText" presStyleLbl="alignAccFollowNode1" presStyleIdx="0" presStyleCnt="3" custScaleX="113587" custLinFactNeighborX="-3503" custLinFactNeighborY="1835">
        <dgm:presLayoutVars>
          <dgm:bulletEnabled val="1"/>
        </dgm:presLayoutVars>
      </dgm:prSet>
      <dgm:spPr/>
    </dgm:pt>
    <dgm:pt modelId="{070CE7F1-C6F2-4A14-9CE5-6F5AAD50763B}" type="pres">
      <dgm:prSet presAssocID="{6329659F-5CC5-4855-8F87-D3C737DBD6BF}" presName="sp" presStyleCnt="0"/>
      <dgm:spPr/>
    </dgm:pt>
    <dgm:pt modelId="{2A6F49F2-0199-4DDD-9E7C-64E09F107A20}" type="pres">
      <dgm:prSet presAssocID="{8F7BF719-AC76-46B8-8CF1-4FD3B594CA71}" presName="linNode" presStyleCnt="0"/>
      <dgm:spPr/>
    </dgm:pt>
    <dgm:pt modelId="{08136A82-1FB7-4253-BE5E-94BB1DE3D541}" type="pres">
      <dgm:prSet presAssocID="{8F7BF719-AC76-46B8-8CF1-4FD3B594CA71}" presName="parentText" presStyleLbl="node1" presStyleIdx="1" presStyleCnt="3" custScaleX="64984" custLinFactNeighborX="-8321" custLinFactNeighborY="1192">
        <dgm:presLayoutVars>
          <dgm:chMax val="1"/>
          <dgm:bulletEnabled val="1"/>
        </dgm:presLayoutVars>
      </dgm:prSet>
      <dgm:spPr/>
    </dgm:pt>
    <dgm:pt modelId="{B27F3B0D-D925-4031-91F4-CE94A9E550CA}" type="pres">
      <dgm:prSet presAssocID="{8F7BF719-AC76-46B8-8CF1-4FD3B594CA71}" presName="descendantText" presStyleLbl="alignAccFollowNode1" presStyleIdx="1" presStyleCnt="3" custScaleX="113587" custLinFactNeighborX="-3503" custLinFactNeighborY="1835">
        <dgm:presLayoutVars>
          <dgm:bulletEnabled val="1"/>
        </dgm:presLayoutVars>
      </dgm:prSet>
      <dgm:spPr/>
    </dgm:pt>
    <dgm:pt modelId="{AA5B09EF-ED89-4CDB-8B2F-65E68454F8B1}" type="pres">
      <dgm:prSet presAssocID="{1E1CD749-9EBC-4161-8521-215E4A22D257}" presName="sp" presStyleCnt="0"/>
      <dgm:spPr/>
    </dgm:pt>
    <dgm:pt modelId="{31E94ED6-BCE4-4A2D-B80B-3B82D9A26A32}" type="pres">
      <dgm:prSet presAssocID="{2CC627DF-7F70-488F-92AC-983780487FD0}" presName="linNode" presStyleCnt="0"/>
      <dgm:spPr/>
    </dgm:pt>
    <dgm:pt modelId="{FDD51701-DC5C-45A6-920F-9105644A9278}" type="pres">
      <dgm:prSet presAssocID="{2CC627DF-7F70-488F-92AC-983780487FD0}" presName="parentText" presStyleLbl="node1" presStyleIdx="2" presStyleCnt="3" custScaleX="64984" custLinFactNeighborX="-8321" custLinFactNeighborY="1192">
        <dgm:presLayoutVars>
          <dgm:chMax val="1"/>
          <dgm:bulletEnabled val="1"/>
        </dgm:presLayoutVars>
      </dgm:prSet>
      <dgm:spPr/>
    </dgm:pt>
    <dgm:pt modelId="{E8FBC572-98AD-4A63-AAF8-0E6AEC369C3B}" type="pres">
      <dgm:prSet presAssocID="{2CC627DF-7F70-488F-92AC-983780487FD0}" presName="descendantText" presStyleLbl="alignAccFollowNode1" presStyleIdx="2" presStyleCnt="3" custScaleX="113587" custLinFactNeighborX="-3503" custLinFactNeighborY="1835">
        <dgm:presLayoutVars>
          <dgm:bulletEnabled val="1"/>
        </dgm:presLayoutVars>
      </dgm:prSet>
      <dgm:spPr/>
    </dgm:pt>
  </dgm:ptLst>
  <dgm:cxnLst>
    <dgm:cxn modelId="{31E32B01-3462-4D4B-B7C9-3CEA3DFEAF38}" type="presOf" srcId="{65CEB372-B9DE-4E55-9337-F45BD1C4614F}" destId="{4BB7A34F-A809-42F9-8833-0BB6817FBEE5}" srcOrd="0" destOrd="2" presId="urn:microsoft.com/office/officeart/2005/8/layout/vList5"/>
    <dgm:cxn modelId="{CF8BD63F-E4B7-46AD-AA5B-47906F609500}" srcId="{2CC627DF-7F70-488F-92AC-983780487FD0}" destId="{0BD00771-9515-42B9-A5C3-BA4947945744}" srcOrd="1" destOrd="0" parTransId="{FE783BAF-0C50-4B74-9E65-85717605A591}" sibTransId="{FD7282DF-8F0A-4651-BBF9-5A823B7160DD}"/>
    <dgm:cxn modelId="{FC83A15B-2B97-4FED-BF4E-2FD7DCA59CED}" type="presOf" srcId="{8F7BF719-AC76-46B8-8CF1-4FD3B594CA71}" destId="{08136A82-1FB7-4253-BE5E-94BB1DE3D541}" srcOrd="0" destOrd="0" presId="urn:microsoft.com/office/officeart/2005/8/layout/vList5"/>
    <dgm:cxn modelId="{6782F861-DDBD-4029-8FFA-C9C06C02F869}" type="presOf" srcId="{2CC627DF-7F70-488F-92AC-983780487FD0}" destId="{FDD51701-DC5C-45A6-920F-9105644A9278}" srcOrd="0" destOrd="0" presId="urn:microsoft.com/office/officeart/2005/8/layout/vList5"/>
    <dgm:cxn modelId="{52069C64-0550-4058-A05A-F0FC4B0517A4}" srcId="{8F7BF719-AC76-46B8-8CF1-4FD3B594CA71}" destId="{D512C06E-ED5A-4631-83F4-A69A93EE1934}" srcOrd="0" destOrd="0" parTransId="{3A90B544-CBD5-4ECC-9827-FE8DB7823369}" sibTransId="{4BEEC7D9-2299-4890-A812-628C4BEDABAC}"/>
    <dgm:cxn modelId="{6220C968-6296-4867-BE84-1A639F4438CB}" type="presOf" srcId="{9DBA518B-8AA9-4FB1-A324-0CCE984B4AFA}" destId="{4BB7A34F-A809-42F9-8833-0BB6817FBEE5}" srcOrd="0" destOrd="0" presId="urn:microsoft.com/office/officeart/2005/8/layout/vList5"/>
    <dgm:cxn modelId="{FC3F5D4A-EF8F-4BA5-9F24-959636141E84}" srcId="{4174E31D-C529-403D-AC76-50C5CE4997EC}" destId="{2CC627DF-7F70-488F-92AC-983780487FD0}" srcOrd="2" destOrd="0" parTransId="{E1EC9124-7FD7-445D-9202-3069AB01D35D}" sibTransId="{02357563-8CE1-427C-81D9-4931996B3D0E}"/>
    <dgm:cxn modelId="{F2EF814C-EC43-4DFA-908C-39B6BF2DCC24}" type="presOf" srcId="{D0D826C2-600F-4093-BC1A-18C65D82742C}" destId="{4BB7A34F-A809-42F9-8833-0BB6817FBEE5}" srcOrd="0" destOrd="3" presId="urn:microsoft.com/office/officeart/2005/8/layout/vList5"/>
    <dgm:cxn modelId="{A8A4A24F-A51E-47F4-B009-A3AB63B6F363}" type="presOf" srcId="{CF5F919C-B4EA-457E-98C7-2B89DCEB0C8E}" destId="{B27F3B0D-D925-4031-91F4-CE94A9E550CA}" srcOrd="0" destOrd="2" presId="urn:microsoft.com/office/officeart/2005/8/layout/vList5"/>
    <dgm:cxn modelId="{316A1775-A51F-4F39-B986-DDE09EB2A741}" type="presOf" srcId="{238D225D-88E6-4149-8294-61A67C9E27C7}" destId="{4BB7A34F-A809-42F9-8833-0BB6817FBEE5}" srcOrd="0" destOrd="1" presId="urn:microsoft.com/office/officeart/2005/8/layout/vList5"/>
    <dgm:cxn modelId="{17BFD05A-9B06-4C85-B3B9-166773B0E9D7}" type="presOf" srcId="{A7C492CD-EAB0-4FED-9396-DE1F9F6CB5A0}" destId="{4E96B2B8-6208-4F6B-9690-912A909F316F}" srcOrd="0" destOrd="0" presId="urn:microsoft.com/office/officeart/2005/8/layout/vList5"/>
    <dgm:cxn modelId="{916F8D82-CE23-4C4D-9D00-E8EE09CCF955}" srcId="{A7C492CD-EAB0-4FED-9396-DE1F9F6CB5A0}" destId="{238D225D-88E6-4149-8294-61A67C9E27C7}" srcOrd="1" destOrd="0" parTransId="{C60619BC-D45A-4077-9960-B7FA0EFB523B}" sibTransId="{55AFD1D4-FC00-4691-A222-6B4ED0F07C6A}"/>
    <dgm:cxn modelId="{9CBBE898-9EE9-4E89-9371-FEB3BF18A173}" srcId="{A7C492CD-EAB0-4FED-9396-DE1F9F6CB5A0}" destId="{65CEB372-B9DE-4E55-9337-F45BD1C4614F}" srcOrd="2" destOrd="0" parTransId="{A3091423-43F5-45DF-918F-A97038A17818}" sibTransId="{B5A04C4F-F478-4042-8235-A1013AAD4BFE}"/>
    <dgm:cxn modelId="{3BBF2E9C-69E4-483D-8B6E-E3E547975025}" type="presOf" srcId="{97FF3DA0-21EA-43D1-B4ED-DB075A709C40}" destId="{B27F3B0D-D925-4031-91F4-CE94A9E550CA}" srcOrd="0" destOrd="1" presId="urn:microsoft.com/office/officeart/2005/8/layout/vList5"/>
    <dgm:cxn modelId="{E593DFA2-3AD5-447D-BCCF-D53E363CE680}" type="presOf" srcId="{D512C06E-ED5A-4631-83F4-A69A93EE1934}" destId="{B27F3B0D-D925-4031-91F4-CE94A9E550CA}" srcOrd="0" destOrd="0" presId="urn:microsoft.com/office/officeart/2005/8/layout/vList5"/>
    <dgm:cxn modelId="{76CC47A8-4BAD-4E56-A62A-1F9A2F3A4D33}" srcId="{A7C492CD-EAB0-4FED-9396-DE1F9F6CB5A0}" destId="{9DBA518B-8AA9-4FB1-A324-0CCE984B4AFA}" srcOrd="0" destOrd="0" parTransId="{0760BBC0-A45D-480A-99F4-B8CB0420CAA6}" sibTransId="{26CD1A15-7D5D-49AC-85AB-2283AE74D58C}"/>
    <dgm:cxn modelId="{5F5F56AB-2D1B-4E4B-84E6-728AD71BD336}" srcId="{A7C492CD-EAB0-4FED-9396-DE1F9F6CB5A0}" destId="{D0D826C2-600F-4093-BC1A-18C65D82742C}" srcOrd="3" destOrd="0" parTransId="{B006E4A6-1D09-40D4-B7DB-07023A50B81C}" sibTransId="{49875D2D-26C9-4CF9-B775-B65BC06978B0}"/>
    <dgm:cxn modelId="{A6C65EB3-F56C-440A-8182-22FBA0EC7101}" type="presOf" srcId="{0BD00771-9515-42B9-A5C3-BA4947945744}" destId="{E8FBC572-98AD-4A63-AAF8-0E6AEC369C3B}" srcOrd="0" destOrd="1" presId="urn:microsoft.com/office/officeart/2005/8/layout/vList5"/>
    <dgm:cxn modelId="{569033D9-830B-4DB6-A2D4-7956660A21A6}" srcId="{4174E31D-C529-403D-AC76-50C5CE4997EC}" destId="{8F7BF719-AC76-46B8-8CF1-4FD3B594CA71}" srcOrd="1" destOrd="0" parTransId="{54DC54A1-B6BD-4353-8F43-A1FF9E14CC1C}" sibTransId="{1E1CD749-9EBC-4161-8521-215E4A22D257}"/>
    <dgm:cxn modelId="{BF5CACE2-2D27-418A-A775-3A727BE05EC6}" type="presOf" srcId="{2E1DE7CF-9CA4-4438-B459-537CE09989B9}" destId="{E8FBC572-98AD-4A63-AAF8-0E6AEC369C3B}" srcOrd="0" destOrd="0" presId="urn:microsoft.com/office/officeart/2005/8/layout/vList5"/>
    <dgm:cxn modelId="{8E7DF8E2-4DCE-42C5-843B-86F3B3F2582C}" srcId="{8F7BF719-AC76-46B8-8CF1-4FD3B594CA71}" destId="{97FF3DA0-21EA-43D1-B4ED-DB075A709C40}" srcOrd="1" destOrd="0" parTransId="{35697707-432F-433B-ACA6-B9C312DF7518}" sibTransId="{865967F7-5176-444E-BD65-C8727E33F827}"/>
    <dgm:cxn modelId="{67CE52EF-01EC-4D68-983C-306BB54190E4}" srcId="{8F7BF719-AC76-46B8-8CF1-4FD3B594CA71}" destId="{CF5F919C-B4EA-457E-98C7-2B89DCEB0C8E}" srcOrd="2" destOrd="0" parTransId="{41910561-9D8A-4CBF-BD87-4E24FC05F8F0}" sibTransId="{CA596D42-873F-4CCB-B7FD-D80403FA8E71}"/>
    <dgm:cxn modelId="{F73CCDF5-49D2-4EFD-846B-60430BEA845A}" srcId="{4174E31D-C529-403D-AC76-50C5CE4997EC}" destId="{A7C492CD-EAB0-4FED-9396-DE1F9F6CB5A0}" srcOrd="0" destOrd="0" parTransId="{9ABB33C0-F512-4819-B143-E69A90D476B5}" sibTransId="{6329659F-5CC5-4855-8F87-D3C737DBD6BF}"/>
    <dgm:cxn modelId="{7D13A1FB-3758-4A5E-A848-CE860E10BE0D}" type="presOf" srcId="{4174E31D-C529-403D-AC76-50C5CE4997EC}" destId="{22893709-E9EC-4614-B124-E6D1182940A6}" srcOrd="0" destOrd="0" presId="urn:microsoft.com/office/officeart/2005/8/layout/vList5"/>
    <dgm:cxn modelId="{AAF788FE-AA15-44CA-A8AC-81C26348E5A2}" srcId="{2CC627DF-7F70-488F-92AC-983780487FD0}" destId="{2E1DE7CF-9CA4-4438-B459-537CE09989B9}" srcOrd="0" destOrd="0" parTransId="{44EF7E84-5862-4BDF-ADD5-5FEFC970F068}" sibTransId="{FBEB2248-2D81-429F-BB0A-4AC382A907B2}"/>
    <dgm:cxn modelId="{E5573A19-C2E4-44BB-A4C7-9CC8D1DDF610}" type="presParOf" srcId="{22893709-E9EC-4614-B124-E6D1182940A6}" destId="{4F72724F-95D4-4100-8A18-2BD35BBDC354}" srcOrd="0" destOrd="0" presId="urn:microsoft.com/office/officeart/2005/8/layout/vList5"/>
    <dgm:cxn modelId="{AFBEF32C-839E-4CE6-B232-F872ADE8D2F2}" type="presParOf" srcId="{4F72724F-95D4-4100-8A18-2BD35BBDC354}" destId="{4E96B2B8-6208-4F6B-9690-912A909F316F}" srcOrd="0" destOrd="0" presId="urn:microsoft.com/office/officeart/2005/8/layout/vList5"/>
    <dgm:cxn modelId="{714C3E12-9172-4F39-A16E-78192D9E65CD}" type="presParOf" srcId="{4F72724F-95D4-4100-8A18-2BD35BBDC354}" destId="{4BB7A34F-A809-42F9-8833-0BB6817FBEE5}" srcOrd="1" destOrd="0" presId="urn:microsoft.com/office/officeart/2005/8/layout/vList5"/>
    <dgm:cxn modelId="{093B6F86-EDD4-4941-A75D-820A4D9B6A93}" type="presParOf" srcId="{22893709-E9EC-4614-B124-E6D1182940A6}" destId="{070CE7F1-C6F2-4A14-9CE5-6F5AAD50763B}" srcOrd="1" destOrd="0" presId="urn:microsoft.com/office/officeart/2005/8/layout/vList5"/>
    <dgm:cxn modelId="{B9DF3BA3-FDD6-4E0C-A1DE-861EBF35B7F7}" type="presParOf" srcId="{22893709-E9EC-4614-B124-E6D1182940A6}" destId="{2A6F49F2-0199-4DDD-9E7C-64E09F107A20}" srcOrd="2" destOrd="0" presId="urn:microsoft.com/office/officeart/2005/8/layout/vList5"/>
    <dgm:cxn modelId="{9F089C4C-31F7-45AE-9036-FE6D2463070B}" type="presParOf" srcId="{2A6F49F2-0199-4DDD-9E7C-64E09F107A20}" destId="{08136A82-1FB7-4253-BE5E-94BB1DE3D541}" srcOrd="0" destOrd="0" presId="urn:microsoft.com/office/officeart/2005/8/layout/vList5"/>
    <dgm:cxn modelId="{F7BBEA80-BA68-4EAB-B45D-FAD9F57328C4}" type="presParOf" srcId="{2A6F49F2-0199-4DDD-9E7C-64E09F107A20}" destId="{B27F3B0D-D925-4031-91F4-CE94A9E550CA}" srcOrd="1" destOrd="0" presId="urn:microsoft.com/office/officeart/2005/8/layout/vList5"/>
    <dgm:cxn modelId="{EA9E9E39-89CE-4A91-A70B-96078FE50D90}" type="presParOf" srcId="{22893709-E9EC-4614-B124-E6D1182940A6}" destId="{AA5B09EF-ED89-4CDB-8B2F-65E68454F8B1}" srcOrd="3" destOrd="0" presId="urn:microsoft.com/office/officeart/2005/8/layout/vList5"/>
    <dgm:cxn modelId="{B3C19485-E82B-4D81-B064-B331E77DF601}" type="presParOf" srcId="{22893709-E9EC-4614-B124-E6D1182940A6}" destId="{31E94ED6-BCE4-4A2D-B80B-3B82D9A26A32}" srcOrd="4" destOrd="0" presId="urn:microsoft.com/office/officeart/2005/8/layout/vList5"/>
    <dgm:cxn modelId="{61049777-6C08-4B05-A6E1-D7F83C49B48A}" type="presParOf" srcId="{31E94ED6-BCE4-4A2D-B80B-3B82D9A26A32}" destId="{FDD51701-DC5C-45A6-920F-9105644A9278}" srcOrd="0" destOrd="0" presId="urn:microsoft.com/office/officeart/2005/8/layout/vList5"/>
    <dgm:cxn modelId="{8F32AA14-3473-491F-856D-B28DF0ECE156}" type="presParOf" srcId="{31E94ED6-BCE4-4A2D-B80B-3B82D9A26A32}" destId="{E8FBC572-98AD-4A63-AAF8-0E6AEC369C3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60E4E29E-00FC-41B6-8CD3-AA0F652583E7}"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EFB595A0-4DD1-4AAD-8EC1-F4FBC7AD3075}">
      <dgm:prSet custT="1"/>
      <dgm:spPr/>
      <dgm:t>
        <a:bodyPr/>
        <a:lstStyle/>
        <a:p>
          <a:r>
            <a:rPr lang="en-US" sz="2000" b="0" i="0" dirty="0"/>
            <a:t>If the number of logical processors is less than or equal to eight (8), use the same number of data files as logical processors. </a:t>
          </a:r>
          <a:endParaRPr lang="en-US" sz="2000" dirty="0"/>
        </a:p>
      </dgm:t>
    </dgm:pt>
    <dgm:pt modelId="{E953DD66-021B-49D9-9EC0-98274141265F}" type="parTrans" cxnId="{515B9965-BE28-48E5-A5D3-00D49F14EC9B}">
      <dgm:prSet/>
      <dgm:spPr/>
      <dgm:t>
        <a:bodyPr/>
        <a:lstStyle/>
        <a:p>
          <a:endParaRPr lang="en-US"/>
        </a:p>
      </dgm:t>
    </dgm:pt>
    <dgm:pt modelId="{4C6B3E41-5F81-4FEA-9650-D33334A6F04E}" type="sibTrans" cxnId="{515B9965-BE28-48E5-A5D3-00D49F14EC9B}">
      <dgm:prSet/>
      <dgm:spPr/>
      <dgm:t>
        <a:bodyPr/>
        <a:lstStyle/>
        <a:p>
          <a:endParaRPr lang="en-US"/>
        </a:p>
      </dgm:t>
    </dgm:pt>
    <dgm:pt modelId="{B230EE83-DBF3-4A1F-8033-6A84344128EE}">
      <dgm:prSet custT="1"/>
      <dgm:spPr/>
      <dgm:t>
        <a:bodyPr/>
        <a:lstStyle/>
        <a:p>
          <a:r>
            <a:rPr lang="en-US" sz="2000" b="0" i="0" dirty="0"/>
            <a:t>If the number of logical processors is greater than eight (8), use eight data files.</a:t>
          </a:r>
          <a:endParaRPr lang="en-US" sz="2000" dirty="0"/>
        </a:p>
      </dgm:t>
    </dgm:pt>
    <dgm:pt modelId="{3C23FB24-8BE8-4BC2-887A-1C26A2770F93}" type="parTrans" cxnId="{9BDDA25F-9A60-485D-98ED-3B33C1E042C6}">
      <dgm:prSet/>
      <dgm:spPr/>
      <dgm:t>
        <a:bodyPr/>
        <a:lstStyle/>
        <a:p>
          <a:endParaRPr lang="en-US"/>
        </a:p>
      </dgm:t>
    </dgm:pt>
    <dgm:pt modelId="{B44D7CA7-8098-468F-90EA-4F42D74067FE}" type="sibTrans" cxnId="{9BDDA25F-9A60-485D-98ED-3B33C1E042C6}">
      <dgm:prSet/>
      <dgm:spPr/>
      <dgm:t>
        <a:bodyPr/>
        <a:lstStyle/>
        <a:p>
          <a:endParaRPr lang="en-US"/>
        </a:p>
      </dgm:t>
    </dgm:pt>
    <dgm:pt modelId="{CBCB11D9-3B2B-4DCD-B9D9-17777F8FEB5B}">
      <dgm:prSet custT="1"/>
      <dgm:spPr/>
      <dgm:t>
        <a:bodyPr/>
        <a:lstStyle/>
        <a:p>
          <a:r>
            <a:rPr lang="en-US" sz="2000" b="0" i="0"/>
            <a:t>Alternatively, make changes to the workload or code.</a:t>
          </a:r>
          <a:endParaRPr lang="en-US" sz="2000" dirty="0"/>
        </a:p>
      </dgm:t>
    </dgm:pt>
    <dgm:pt modelId="{EF8AEF85-17AB-4373-924E-8D26D14433D9}" type="parTrans" cxnId="{16C1884E-CAD9-4F9D-B45E-00A16A631DAA}">
      <dgm:prSet/>
      <dgm:spPr/>
      <dgm:t>
        <a:bodyPr/>
        <a:lstStyle/>
        <a:p>
          <a:endParaRPr lang="en-US"/>
        </a:p>
      </dgm:t>
    </dgm:pt>
    <dgm:pt modelId="{FDF3A90A-4F09-468D-B21A-593D81B18317}" type="sibTrans" cxnId="{16C1884E-CAD9-4F9D-B45E-00A16A631DAA}">
      <dgm:prSet/>
      <dgm:spPr/>
      <dgm:t>
        <a:bodyPr/>
        <a:lstStyle/>
        <a:p>
          <a:endParaRPr lang="en-US"/>
        </a:p>
      </dgm:t>
    </dgm:pt>
    <dgm:pt modelId="{BCA2F177-B590-4E3F-B210-5C1A1B59FB97}">
      <dgm:prSet custT="1"/>
      <dgm:spPr/>
      <dgm:t>
        <a:bodyPr/>
        <a:lstStyle/>
        <a:p>
          <a:r>
            <a:rPr lang="en-US" sz="2000" b="0" i="0" dirty="0"/>
            <a:t>If contention continues, increase the number of data    files by multiples of four (4) up to the number of logical processors</a:t>
          </a:r>
          <a:endParaRPr lang="en-US" sz="2000" dirty="0"/>
        </a:p>
      </dgm:t>
    </dgm:pt>
    <dgm:pt modelId="{2406BAFD-0A08-4201-B42A-D2F4AD1592B5}" type="parTrans" cxnId="{D0925EDB-59C0-4822-9B6B-C213250BEB0A}">
      <dgm:prSet/>
      <dgm:spPr/>
      <dgm:t>
        <a:bodyPr/>
        <a:lstStyle/>
        <a:p>
          <a:endParaRPr lang="en-US"/>
        </a:p>
      </dgm:t>
    </dgm:pt>
    <dgm:pt modelId="{EBBD0940-7350-4A00-8A84-137B0D10459B}" type="sibTrans" cxnId="{D0925EDB-59C0-4822-9B6B-C213250BEB0A}">
      <dgm:prSet/>
      <dgm:spPr/>
      <dgm:t>
        <a:bodyPr/>
        <a:lstStyle/>
        <a:p>
          <a:endParaRPr lang="en-US"/>
        </a:p>
      </dgm:t>
    </dgm:pt>
    <dgm:pt modelId="{3E0853D8-B67B-4937-8615-62A92E7AA09E}" type="pres">
      <dgm:prSet presAssocID="{60E4E29E-00FC-41B6-8CD3-AA0F652583E7}" presName="diagram" presStyleCnt="0">
        <dgm:presLayoutVars>
          <dgm:dir/>
          <dgm:resizeHandles val="exact"/>
        </dgm:presLayoutVars>
      </dgm:prSet>
      <dgm:spPr/>
    </dgm:pt>
    <dgm:pt modelId="{1DBA622A-2CAD-4CD4-B9F9-2EC91C1157DC}" type="pres">
      <dgm:prSet presAssocID="{EFB595A0-4DD1-4AAD-8EC1-F4FBC7AD3075}" presName="node" presStyleLbl="node1" presStyleIdx="0" presStyleCnt="4" custScaleY="163083">
        <dgm:presLayoutVars>
          <dgm:bulletEnabled val="1"/>
        </dgm:presLayoutVars>
      </dgm:prSet>
      <dgm:spPr/>
    </dgm:pt>
    <dgm:pt modelId="{D38E063A-63FE-45FC-B3C0-B240E9CABDF0}" type="pres">
      <dgm:prSet presAssocID="{4C6B3E41-5F81-4FEA-9650-D33334A6F04E}" presName="sibTrans" presStyleCnt="0"/>
      <dgm:spPr/>
    </dgm:pt>
    <dgm:pt modelId="{B1C4AFFA-3532-437C-B29A-7FDDE5BEC71F}" type="pres">
      <dgm:prSet presAssocID="{B230EE83-DBF3-4A1F-8033-6A84344128EE}" presName="node" presStyleLbl="node1" presStyleIdx="1" presStyleCnt="4" custScaleY="160280">
        <dgm:presLayoutVars>
          <dgm:bulletEnabled val="1"/>
        </dgm:presLayoutVars>
      </dgm:prSet>
      <dgm:spPr/>
    </dgm:pt>
    <dgm:pt modelId="{2B39BB65-AD2D-412B-BF55-4AE75F4E6F53}" type="pres">
      <dgm:prSet presAssocID="{B44D7CA7-8098-468F-90EA-4F42D74067FE}" presName="sibTrans" presStyleCnt="0"/>
      <dgm:spPr/>
    </dgm:pt>
    <dgm:pt modelId="{44D8825F-E5C3-4395-86D5-510F82EDC61E}" type="pres">
      <dgm:prSet presAssocID="{BCA2F177-B590-4E3F-B210-5C1A1B59FB97}" presName="node" presStyleLbl="node1" presStyleIdx="2" presStyleCnt="4" custScaleY="160280">
        <dgm:presLayoutVars>
          <dgm:bulletEnabled val="1"/>
        </dgm:presLayoutVars>
      </dgm:prSet>
      <dgm:spPr/>
    </dgm:pt>
    <dgm:pt modelId="{FB9F0EE4-521D-4651-A5A9-A66D524BF172}" type="pres">
      <dgm:prSet presAssocID="{EBBD0940-7350-4A00-8A84-137B0D10459B}" presName="sibTrans" presStyleCnt="0"/>
      <dgm:spPr/>
    </dgm:pt>
    <dgm:pt modelId="{0A4357DC-3753-4163-A2BD-06FC659AF452}" type="pres">
      <dgm:prSet presAssocID="{CBCB11D9-3B2B-4DCD-B9D9-17777F8FEB5B}" presName="node" presStyleLbl="node1" presStyleIdx="3" presStyleCnt="4" custScaleY="160280">
        <dgm:presLayoutVars>
          <dgm:bulletEnabled val="1"/>
        </dgm:presLayoutVars>
      </dgm:prSet>
      <dgm:spPr/>
    </dgm:pt>
  </dgm:ptLst>
  <dgm:cxnLst>
    <dgm:cxn modelId="{FE259A04-5A32-4171-B752-1E6B7D733EDE}" type="presOf" srcId="{B230EE83-DBF3-4A1F-8033-6A84344128EE}" destId="{B1C4AFFA-3532-437C-B29A-7FDDE5BEC71F}" srcOrd="0" destOrd="0" presId="urn:microsoft.com/office/officeart/2005/8/layout/default"/>
    <dgm:cxn modelId="{9BDDA25F-9A60-485D-98ED-3B33C1E042C6}" srcId="{60E4E29E-00FC-41B6-8CD3-AA0F652583E7}" destId="{B230EE83-DBF3-4A1F-8033-6A84344128EE}" srcOrd="1" destOrd="0" parTransId="{3C23FB24-8BE8-4BC2-887A-1C26A2770F93}" sibTransId="{B44D7CA7-8098-468F-90EA-4F42D74067FE}"/>
    <dgm:cxn modelId="{515B9965-BE28-48E5-A5D3-00D49F14EC9B}" srcId="{60E4E29E-00FC-41B6-8CD3-AA0F652583E7}" destId="{EFB595A0-4DD1-4AAD-8EC1-F4FBC7AD3075}" srcOrd="0" destOrd="0" parTransId="{E953DD66-021B-49D9-9EC0-98274141265F}" sibTransId="{4C6B3E41-5F81-4FEA-9650-D33334A6F04E}"/>
    <dgm:cxn modelId="{16C1884E-CAD9-4F9D-B45E-00A16A631DAA}" srcId="{60E4E29E-00FC-41B6-8CD3-AA0F652583E7}" destId="{CBCB11D9-3B2B-4DCD-B9D9-17777F8FEB5B}" srcOrd="3" destOrd="0" parTransId="{EF8AEF85-17AB-4373-924E-8D26D14433D9}" sibTransId="{FDF3A90A-4F09-468D-B21A-593D81B18317}"/>
    <dgm:cxn modelId="{668C6A5A-A3E0-4094-A2A0-4E7B865D1BC8}" type="presOf" srcId="{EFB595A0-4DD1-4AAD-8EC1-F4FBC7AD3075}" destId="{1DBA622A-2CAD-4CD4-B9F9-2EC91C1157DC}" srcOrd="0" destOrd="0" presId="urn:microsoft.com/office/officeart/2005/8/layout/default"/>
    <dgm:cxn modelId="{E09680CA-9CCC-45F8-BA01-ED7053F2F824}" type="presOf" srcId="{BCA2F177-B590-4E3F-B210-5C1A1B59FB97}" destId="{44D8825F-E5C3-4395-86D5-510F82EDC61E}" srcOrd="0" destOrd="0" presId="urn:microsoft.com/office/officeart/2005/8/layout/default"/>
    <dgm:cxn modelId="{52950BD7-0B8C-4BB5-9BB4-04E5011AD240}" type="presOf" srcId="{CBCB11D9-3B2B-4DCD-B9D9-17777F8FEB5B}" destId="{0A4357DC-3753-4163-A2BD-06FC659AF452}" srcOrd="0" destOrd="0" presId="urn:microsoft.com/office/officeart/2005/8/layout/default"/>
    <dgm:cxn modelId="{D0925EDB-59C0-4822-9B6B-C213250BEB0A}" srcId="{60E4E29E-00FC-41B6-8CD3-AA0F652583E7}" destId="{BCA2F177-B590-4E3F-B210-5C1A1B59FB97}" srcOrd="2" destOrd="0" parTransId="{2406BAFD-0A08-4201-B42A-D2F4AD1592B5}" sibTransId="{EBBD0940-7350-4A00-8A84-137B0D10459B}"/>
    <dgm:cxn modelId="{9FBF91E5-022B-4F86-96B8-907D7B0B8EEA}" type="presOf" srcId="{60E4E29E-00FC-41B6-8CD3-AA0F652583E7}" destId="{3E0853D8-B67B-4937-8615-62A92E7AA09E}" srcOrd="0" destOrd="0" presId="urn:microsoft.com/office/officeart/2005/8/layout/default"/>
    <dgm:cxn modelId="{C753FADE-3CC9-4756-83F4-6860632F5E0B}" type="presParOf" srcId="{3E0853D8-B67B-4937-8615-62A92E7AA09E}" destId="{1DBA622A-2CAD-4CD4-B9F9-2EC91C1157DC}" srcOrd="0" destOrd="0" presId="urn:microsoft.com/office/officeart/2005/8/layout/default"/>
    <dgm:cxn modelId="{192401C3-CDDB-4F23-B56F-E03BE535836B}" type="presParOf" srcId="{3E0853D8-B67B-4937-8615-62A92E7AA09E}" destId="{D38E063A-63FE-45FC-B3C0-B240E9CABDF0}" srcOrd="1" destOrd="0" presId="urn:microsoft.com/office/officeart/2005/8/layout/default"/>
    <dgm:cxn modelId="{A0807EDE-3C4F-4C37-AB0C-72CD2906BDAE}" type="presParOf" srcId="{3E0853D8-B67B-4937-8615-62A92E7AA09E}" destId="{B1C4AFFA-3532-437C-B29A-7FDDE5BEC71F}" srcOrd="2" destOrd="0" presId="urn:microsoft.com/office/officeart/2005/8/layout/default"/>
    <dgm:cxn modelId="{7E62D39B-1D78-4996-8BD1-28C3903DB389}" type="presParOf" srcId="{3E0853D8-B67B-4937-8615-62A92E7AA09E}" destId="{2B39BB65-AD2D-412B-BF55-4AE75F4E6F53}" srcOrd="3" destOrd="0" presId="urn:microsoft.com/office/officeart/2005/8/layout/default"/>
    <dgm:cxn modelId="{59D64556-14EE-4D32-873E-42C1B9EA9D2E}" type="presParOf" srcId="{3E0853D8-B67B-4937-8615-62A92E7AA09E}" destId="{44D8825F-E5C3-4395-86D5-510F82EDC61E}" srcOrd="4" destOrd="0" presId="urn:microsoft.com/office/officeart/2005/8/layout/default"/>
    <dgm:cxn modelId="{79526307-AE5A-4D1B-816A-AB36414CE62F}" type="presParOf" srcId="{3E0853D8-B67B-4937-8615-62A92E7AA09E}" destId="{FB9F0EE4-521D-4651-A5A9-A66D524BF172}" srcOrd="5" destOrd="0" presId="urn:microsoft.com/office/officeart/2005/8/layout/default"/>
    <dgm:cxn modelId="{41A248F2-379B-403C-A2CD-1A704BEE1423}" type="presParOf" srcId="{3E0853D8-B67B-4937-8615-62A92E7AA09E}" destId="{0A4357DC-3753-4163-A2BD-06FC659AF452}"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2DF05929-157C-4B15-92F2-BF6BDE8DCA61}"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F2CFAFE8-C07F-42D3-A666-0F3353C7CA11}">
      <dgm:prSet custT="1"/>
      <dgm:spPr/>
      <dgm:t>
        <a:bodyPr/>
        <a:lstStyle/>
        <a:p>
          <a:r>
            <a:rPr lang="en-US" sz="2400" baseline="0" dirty="0"/>
            <a:t>Consider instant file initialization</a:t>
          </a:r>
          <a:endParaRPr lang="en-US" sz="2400" dirty="0"/>
        </a:p>
      </dgm:t>
    </dgm:pt>
    <dgm:pt modelId="{A27B2E1C-7D88-411B-9676-435246736952}" type="parTrans" cxnId="{973E4B3A-95DD-4FE6-B5BA-22DBD21DF18D}">
      <dgm:prSet/>
      <dgm:spPr/>
      <dgm:t>
        <a:bodyPr/>
        <a:lstStyle/>
        <a:p>
          <a:endParaRPr lang="en-US" sz="1400"/>
        </a:p>
      </dgm:t>
    </dgm:pt>
    <dgm:pt modelId="{634931F7-1682-4388-951B-72E45C346E2F}" type="sibTrans" cxnId="{973E4B3A-95DD-4FE6-B5BA-22DBD21DF18D}">
      <dgm:prSet/>
      <dgm:spPr/>
      <dgm:t>
        <a:bodyPr/>
        <a:lstStyle/>
        <a:p>
          <a:endParaRPr lang="en-US" sz="1400"/>
        </a:p>
      </dgm:t>
    </dgm:pt>
    <dgm:pt modelId="{9398C0D8-9E80-4485-9E28-88E046756333}">
      <dgm:prSet custT="1"/>
      <dgm:spPr/>
      <dgm:t>
        <a:bodyPr/>
        <a:lstStyle/>
        <a:p>
          <a:r>
            <a:rPr lang="en-US" sz="2400" baseline="0" dirty="0"/>
            <a:t>Pre-allocate space for all TempDB files</a:t>
          </a:r>
          <a:endParaRPr lang="en-US" sz="2400" dirty="0"/>
        </a:p>
      </dgm:t>
    </dgm:pt>
    <dgm:pt modelId="{E2E40A30-2531-41F4-B2ED-761A165A366A}" type="parTrans" cxnId="{A72FABBC-6B24-4C58-95ED-4C9FC6DC2303}">
      <dgm:prSet/>
      <dgm:spPr/>
      <dgm:t>
        <a:bodyPr/>
        <a:lstStyle/>
        <a:p>
          <a:endParaRPr lang="en-US" sz="1400"/>
        </a:p>
      </dgm:t>
    </dgm:pt>
    <dgm:pt modelId="{6FE77A4D-C0BE-4A2C-A7B1-F53041F288EA}" type="sibTrans" cxnId="{A72FABBC-6B24-4C58-95ED-4C9FC6DC2303}">
      <dgm:prSet/>
      <dgm:spPr/>
      <dgm:t>
        <a:bodyPr/>
        <a:lstStyle/>
        <a:p>
          <a:endParaRPr lang="en-US" sz="1400"/>
        </a:p>
      </dgm:t>
    </dgm:pt>
    <dgm:pt modelId="{8D618624-FA4E-4809-AA0F-DB631093FE23}">
      <dgm:prSet custT="1"/>
      <dgm:spPr/>
      <dgm:t>
        <a:bodyPr/>
        <a:lstStyle/>
        <a:p>
          <a:r>
            <a:rPr lang="en-US" sz="2400" baseline="0" dirty="0"/>
            <a:t>Divide TempDB into multiple data files of equal size</a:t>
          </a:r>
          <a:endParaRPr lang="en-US" sz="2400" dirty="0"/>
        </a:p>
      </dgm:t>
    </dgm:pt>
    <dgm:pt modelId="{D77842F8-D4A4-4CEB-AB40-3896550B90CB}" type="parTrans" cxnId="{898DFFAA-BD0B-45BB-ACBE-432C211A6892}">
      <dgm:prSet/>
      <dgm:spPr/>
      <dgm:t>
        <a:bodyPr/>
        <a:lstStyle/>
        <a:p>
          <a:endParaRPr lang="en-US" sz="1400"/>
        </a:p>
      </dgm:t>
    </dgm:pt>
    <dgm:pt modelId="{FE2B29F5-7482-4AAF-A5BD-2E0D31973F94}" type="sibTrans" cxnId="{898DFFAA-BD0B-45BB-ACBE-432C211A6892}">
      <dgm:prSet/>
      <dgm:spPr/>
      <dgm:t>
        <a:bodyPr/>
        <a:lstStyle/>
        <a:p>
          <a:endParaRPr lang="en-US" sz="1400"/>
        </a:p>
      </dgm:t>
    </dgm:pt>
    <dgm:pt modelId="{338F272E-D681-4C13-B0CB-BE13A97DD5EB}">
      <dgm:prSet custT="1"/>
      <dgm:spPr/>
      <dgm:t>
        <a:bodyPr/>
        <a:lstStyle/>
        <a:p>
          <a:r>
            <a:rPr lang="en-US" sz="2400" baseline="0" dirty="0"/>
            <a:t>Put the TempDB database on a fast I/O subsystem</a:t>
          </a:r>
          <a:endParaRPr lang="en-US" sz="2400" dirty="0"/>
        </a:p>
      </dgm:t>
    </dgm:pt>
    <dgm:pt modelId="{E227C10A-B800-4A9C-A0D1-139AF315E337}" type="parTrans" cxnId="{C7AB2722-846E-4FFD-89D6-48E882BB3AD5}">
      <dgm:prSet/>
      <dgm:spPr/>
      <dgm:t>
        <a:bodyPr/>
        <a:lstStyle/>
        <a:p>
          <a:endParaRPr lang="en-US" sz="1400"/>
        </a:p>
      </dgm:t>
    </dgm:pt>
    <dgm:pt modelId="{24540621-E93B-4B37-9B37-FAB402BBBC8C}" type="sibTrans" cxnId="{C7AB2722-846E-4FFD-89D6-48E882BB3AD5}">
      <dgm:prSet/>
      <dgm:spPr/>
      <dgm:t>
        <a:bodyPr/>
        <a:lstStyle/>
        <a:p>
          <a:endParaRPr lang="en-US" sz="1400"/>
        </a:p>
      </dgm:t>
    </dgm:pt>
    <dgm:pt modelId="{56B0BDE0-B2C0-406F-8881-FD6AFD2AF39B}">
      <dgm:prSet custT="1"/>
      <dgm:spPr/>
      <dgm:t>
        <a:bodyPr/>
        <a:lstStyle/>
        <a:p>
          <a:r>
            <a:rPr lang="en-US" sz="2400" baseline="0" dirty="0"/>
            <a:t>Use disk striping if there are many directly attached disks.</a:t>
          </a:r>
          <a:endParaRPr lang="en-US" sz="2400" dirty="0"/>
        </a:p>
      </dgm:t>
    </dgm:pt>
    <dgm:pt modelId="{FFA9546E-E452-4C1C-84EF-E8A931A4DB1F}" type="parTrans" cxnId="{44B57BCD-49E4-4C7D-AD32-06B06612D900}">
      <dgm:prSet/>
      <dgm:spPr/>
      <dgm:t>
        <a:bodyPr/>
        <a:lstStyle/>
        <a:p>
          <a:endParaRPr lang="en-US" sz="1400"/>
        </a:p>
      </dgm:t>
    </dgm:pt>
    <dgm:pt modelId="{0CA217A1-CD82-400A-BDD0-66B54F8EAB0D}" type="sibTrans" cxnId="{44B57BCD-49E4-4C7D-AD32-06B06612D900}">
      <dgm:prSet/>
      <dgm:spPr/>
      <dgm:t>
        <a:bodyPr/>
        <a:lstStyle/>
        <a:p>
          <a:endParaRPr lang="en-US" sz="1400"/>
        </a:p>
      </dgm:t>
    </dgm:pt>
    <dgm:pt modelId="{0CD97547-67F5-4A37-8E1D-98DBDC37ED90}">
      <dgm:prSet custT="1"/>
      <dgm:spPr/>
      <dgm:t>
        <a:bodyPr/>
        <a:lstStyle/>
        <a:p>
          <a:r>
            <a:rPr lang="en-US" sz="2400" baseline="0" dirty="0"/>
            <a:t>Put the TempDB database on separate disks from user databases</a:t>
          </a:r>
          <a:endParaRPr lang="en-US" sz="2400" dirty="0"/>
        </a:p>
      </dgm:t>
    </dgm:pt>
    <dgm:pt modelId="{D013B7AE-7A7A-4006-9CC8-D708CCEB2294}" type="parTrans" cxnId="{F0A53C68-8B39-4545-A25D-D9AD51EBF3FA}">
      <dgm:prSet/>
      <dgm:spPr/>
      <dgm:t>
        <a:bodyPr/>
        <a:lstStyle/>
        <a:p>
          <a:endParaRPr lang="en-US" sz="1400"/>
        </a:p>
      </dgm:t>
    </dgm:pt>
    <dgm:pt modelId="{FCB220A5-CA12-4AF3-BEDE-9099261CC34C}" type="sibTrans" cxnId="{F0A53C68-8B39-4545-A25D-D9AD51EBF3FA}">
      <dgm:prSet/>
      <dgm:spPr/>
      <dgm:t>
        <a:bodyPr/>
        <a:lstStyle/>
        <a:p>
          <a:endParaRPr lang="en-US" sz="1400"/>
        </a:p>
      </dgm:t>
    </dgm:pt>
    <dgm:pt modelId="{14BD22F7-991E-462A-B0D7-2075713FA611}" type="pres">
      <dgm:prSet presAssocID="{2DF05929-157C-4B15-92F2-BF6BDE8DCA61}" presName="diagram" presStyleCnt="0">
        <dgm:presLayoutVars>
          <dgm:dir/>
          <dgm:resizeHandles val="exact"/>
        </dgm:presLayoutVars>
      </dgm:prSet>
      <dgm:spPr/>
    </dgm:pt>
    <dgm:pt modelId="{1112D7E6-9E7C-4AA2-B124-7E6E29E911AF}" type="pres">
      <dgm:prSet presAssocID="{F2CFAFE8-C07F-42D3-A666-0F3353C7CA11}" presName="node" presStyleLbl="node1" presStyleIdx="0" presStyleCnt="6">
        <dgm:presLayoutVars>
          <dgm:bulletEnabled val="1"/>
        </dgm:presLayoutVars>
      </dgm:prSet>
      <dgm:spPr/>
    </dgm:pt>
    <dgm:pt modelId="{C3E46503-012B-4752-A160-425F77D71B57}" type="pres">
      <dgm:prSet presAssocID="{634931F7-1682-4388-951B-72E45C346E2F}" presName="sibTrans" presStyleCnt="0"/>
      <dgm:spPr/>
    </dgm:pt>
    <dgm:pt modelId="{94DCA6BD-1721-4E61-8F96-42F7D22CF61C}" type="pres">
      <dgm:prSet presAssocID="{9398C0D8-9E80-4485-9E28-88E046756333}" presName="node" presStyleLbl="node1" presStyleIdx="1" presStyleCnt="6">
        <dgm:presLayoutVars>
          <dgm:bulletEnabled val="1"/>
        </dgm:presLayoutVars>
      </dgm:prSet>
      <dgm:spPr/>
    </dgm:pt>
    <dgm:pt modelId="{3305088B-C4B4-4A1F-BA81-1998D6097785}" type="pres">
      <dgm:prSet presAssocID="{6FE77A4D-C0BE-4A2C-A7B1-F53041F288EA}" presName="sibTrans" presStyleCnt="0"/>
      <dgm:spPr/>
    </dgm:pt>
    <dgm:pt modelId="{D32F6E4D-F5C1-4618-93C3-7C08E691EE5B}" type="pres">
      <dgm:prSet presAssocID="{8D618624-FA4E-4809-AA0F-DB631093FE23}" presName="node" presStyleLbl="node1" presStyleIdx="2" presStyleCnt="6">
        <dgm:presLayoutVars>
          <dgm:bulletEnabled val="1"/>
        </dgm:presLayoutVars>
      </dgm:prSet>
      <dgm:spPr/>
    </dgm:pt>
    <dgm:pt modelId="{BC1E083D-EE93-4176-B8A4-79757CAD9B94}" type="pres">
      <dgm:prSet presAssocID="{FE2B29F5-7482-4AAF-A5BD-2E0D31973F94}" presName="sibTrans" presStyleCnt="0"/>
      <dgm:spPr/>
    </dgm:pt>
    <dgm:pt modelId="{7D8C0E8D-C181-4FBD-8CD5-972A56A49965}" type="pres">
      <dgm:prSet presAssocID="{338F272E-D681-4C13-B0CB-BE13A97DD5EB}" presName="node" presStyleLbl="node1" presStyleIdx="3" presStyleCnt="6">
        <dgm:presLayoutVars>
          <dgm:bulletEnabled val="1"/>
        </dgm:presLayoutVars>
      </dgm:prSet>
      <dgm:spPr/>
    </dgm:pt>
    <dgm:pt modelId="{37A5D24B-E16A-4BF5-AE01-39EA0F4F6406}" type="pres">
      <dgm:prSet presAssocID="{24540621-E93B-4B37-9B37-FAB402BBBC8C}" presName="sibTrans" presStyleCnt="0"/>
      <dgm:spPr/>
    </dgm:pt>
    <dgm:pt modelId="{5C5D1959-FD49-4F9F-BE4D-0311FDC3F87A}" type="pres">
      <dgm:prSet presAssocID="{56B0BDE0-B2C0-406F-8881-FD6AFD2AF39B}" presName="node" presStyleLbl="node1" presStyleIdx="4" presStyleCnt="6">
        <dgm:presLayoutVars>
          <dgm:bulletEnabled val="1"/>
        </dgm:presLayoutVars>
      </dgm:prSet>
      <dgm:spPr/>
    </dgm:pt>
    <dgm:pt modelId="{A5020F62-94E2-402A-BECA-C13411AB307A}" type="pres">
      <dgm:prSet presAssocID="{0CA217A1-CD82-400A-BDD0-66B54F8EAB0D}" presName="sibTrans" presStyleCnt="0"/>
      <dgm:spPr/>
    </dgm:pt>
    <dgm:pt modelId="{7A16D7C9-AA21-4FB5-8281-BD4F74B42549}" type="pres">
      <dgm:prSet presAssocID="{0CD97547-67F5-4A37-8E1D-98DBDC37ED90}" presName="node" presStyleLbl="node1" presStyleIdx="5" presStyleCnt="6">
        <dgm:presLayoutVars>
          <dgm:bulletEnabled val="1"/>
        </dgm:presLayoutVars>
      </dgm:prSet>
      <dgm:spPr/>
    </dgm:pt>
  </dgm:ptLst>
  <dgm:cxnLst>
    <dgm:cxn modelId="{39046805-6546-4EA6-9554-8751D1647CFD}" type="presOf" srcId="{338F272E-D681-4C13-B0CB-BE13A97DD5EB}" destId="{7D8C0E8D-C181-4FBD-8CD5-972A56A49965}" srcOrd="0" destOrd="0" presId="urn:microsoft.com/office/officeart/2005/8/layout/default"/>
    <dgm:cxn modelId="{FF609E13-E3D4-466C-BCCD-6943985FEC37}" type="presOf" srcId="{F2CFAFE8-C07F-42D3-A666-0F3353C7CA11}" destId="{1112D7E6-9E7C-4AA2-B124-7E6E29E911AF}" srcOrd="0" destOrd="0" presId="urn:microsoft.com/office/officeart/2005/8/layout/default"/>
    <dgm:cxn modelId="{C7AB2722-846E-4FFD-89D6-48E882BB3AD5}" srcId="{2DF05929-157C-4B15-92F2-BF6BDE8DCA61}" destId="{338F272E-D681-4C13-B0CB-BE13A97DD5EB}" srcOrd="3" destOrd="0" parTransId="{E227C10A-B800-4A9C-A0D1-139AF315E337}" sibTransId="{24540621-E93B-4B37-9B37-FAB402BBBC8C}"/>
    <dgm:cxn modelId="{973E4B3A-95DD-4FE6-B5BA-22DBD21DF18D}" srcId="{2DF05929-157C-4B15-92F2-BF6BDE8DCA61}" destId="{F2CFAFE8-C07F-42D3-A666-0F3353C7CA11}" srcOrd="0" destOrd="0" parTransId="{A27B2E1C-7D88-411B-9676-435246736952}" sibTransId="{634931F7-1682-4388-951B-72E45C346E2F}"/>
    <dgm:cxn modelId="{408F353E-6D53-40D3-8198-1C6DA3FF90EB}" type="presOf" srcId="{9398C0D8-9E80-4485-9E28-88E046756333}" destId="{94DCA6BD-1721-4E61-8F96-42F7D22CF61C}" srcOrd="0" destOrd="0" presId="urn:microsoft.com/office/officeart/2005/8/layout/default"/>
    <dgm:cxn modelId="{12A5EE63-79AF-4177-B059-FDE1040F2D3B}" type="presOf" srcId="{0CD97547-67F5-4A37-8E1D-98DBDC37ED90}" destId="{7A16D7C9-AA21-4FB5-8281-BD4F74B42549}" srcOrd="0" destOrd="0" presId="urn:microsoft.com/office/officeart/2005/8/layout/default"/>
    <dgm:cxn modelId="{F0A53C68-8B39-4545-A25D-D9AD51EBF3FA}" srcId="{2DF05929-157C-4B15-92F2-BF6BDE8DCA61}" destId="{0CD97547-67F5-4A37-8E1D-98DBDC37ED90}" srcOrd="5" destOrd="0" parTransId="{D013B7AE-7A7A-4006-9CC8-D708CCEB2294}" sibTransId="{FCB220A5-CA12-4AF3-BEDE-9099261CC34C}"/>
    <dgm:cxn modelId="{12205788-5B2C-4709-9181-407E28D0739E}" type="presOf" srcId="{2DF05929-157C-4B15-92F2-BF6BDE8DCA61}" destId="{14BD22F7-991E-462A-B0D7-2075713FA611}" srcOrd="0" destOrd="0" presId="urn:microsoft.com/office/officeart/2005/8/layout/default"/>
    <dgm:cxn modelId="{898DFFAA-BD0B-45BB-ACBE-432C211A6892}" srcId="{2DF05929-157C-4B15-92F2-BF6BDE8DCA61}" destId="{8D618624-FA4E-4809-AA0F-DB631093FE23}" srcOrd="2" destOrd="0" parTransId="{D77842F8-D4A4-4CEB-AB40-3896550B90CB}" sibTransId="{FE2B29F5-7482-4AAF-A5BD-2E0D31973F94}"/>
    <dgm:cxn modelId="{A72FABBC-6B24-4C58-95ED-4C9FC6DC2303}" srcId="{2DF05929-157C-4B15-92F2-BF6BDE8DCA61}" destId="{9398C0D8-9E80-4485-9E28-88E046756333}" srcOrd="1" destOrd="0" parTransId="{E2E40A30-2531-41F4-B2ED-761A165A366A}" sibTransId="{6FE77A4D-C0BE-4A2C-A7B1-F53041F288EA}"/>
    <dgm:cxn modelId="{98941FCA-AE40-4D4E-92E8-DFBA789999AF}" type="presOf" srcId="{56B0BDE0-B2C0-406F-8881-FD6AFD2AF39B}" destId="{5C5D1959-FD49-4F9F-BE4D-0311FDC3F87A}" srcOrd="0" destOrd="0" presId="urn:microsoft.com/office/officeart/2005/8/layout/default"/>
    <dgm:cxn modelId="{44B57BCD-49E4-4C7D-AD32-06B06612D900}" srcId="{2DF05929-157C-4B15-92F2-BF6BDE8DCA61}" destId="{56B0BDE0-B2C0-406F-8881-FD6AFD2AF39B}" srcOrd="4" destOrd="0" parTransId="{FFA9546E-E452-4C1C-84EF-E8A931A4DB1F}" sibTransId="{0CA217A1-CD82-400A-BDD0-66B54F8EAB0D}"/>
    <dgm:cxn modelId="{B9FC5EE0-E70A-4C0B-A7F5-32B6F9685FC3}" type="presOf" srcId="{8D618624-FA4E-4809-AA0F-DB631093FE23}" destId="{D32F6E4D-F5C1-4618-93C3-7C08E691EE5B}" srcOrd="0" destOrd="0" presId="urn:microsoft.com/office/officeart/2005/8/layout/default"/>
    <dgm:cxn modelId="{9216509D-AB1D-4176-A842-AA1C4CAFAD08}" type="presParOf" srcId="{14BD22F7-991E-462A-B0D7-2075713FA611}" destId="{1112D7E6-9E7C-4AA2-B124-7E6E29E911AF}" srcOrd="0" destOrd="0" presId="urn:microsoft.com/office/officeart/2005/8/layout/default"/>
    <dgm:cxn modelId="{E69F8D60-7C7D-4A97-8921-45D9D9BA36C6}" type="presParOf" srcId="{14BD22F7-991E-462A-B0D7-2075713FA611}" destId="{C3E46503-012B-4752-A160-425F77D71B57}" srcOrd="1" destOrd="0" presId="urn:microsoft.com/office/officeart/2005/8/layout/default"/>
    <dgm:cxn modelId="{9565E12F-FE9D-4B7D-B7AF-AF3E9AD533AC}" type="presParOf" srcId="{14BD22F7-991E-462A-B0D7-2075713FA611}" destId="{94DCA6BD-1721-4E61-8F96-42F7D22CF61C}" srcOrd="2" destOrd="0" presId="urn:microsoft.com/office/officeart/2005/8/layout/default"/>
    <dgm:cxn modelId="{3DF387B8-2EE3-4FE0-8C0D-ECCA90BD6028}" type="presParOf" srcId="{14BD22F7-991E-462A-B0D7-2075713FA611}" destId="{3305088B-C4B4-4A1F-BA81-1998D6097785}" srcOrd="3" destOrd="0" presId="urn:microsoft.com/office/officeart/2005/8/layout/default"/>
    <dgm:cxn modelId="{70949B43-CD0D-40E9-B8C6-4E36269F19A3}" type="presParOf" srcId="{14BD22F7-991E-462A-B0D7-2075713FA611}" destId="{D32F6E4D-F5C1-4618-93C3-7C08E691EE5B}" srcOrd="4" destOrd="0" presId="urn:microsoft.com/office/officeart/2005/8/layout/default"/>
    <dgm:cxn modelId="{492DA3DC-BD19-4672-A20E-67C3A202C11E}" type="presParOf" srcId="{14BD22F7-991E-462A-B0D7-2075713FA611}" destId="{BC1E083D-EE93-4176-B8A4-79757CAD9B94}" srcOrd="5" destOrd="0" presId="urn:microsoft.com/office/officeart/2005/8/layout/default"/>
    <dgm:cxn modelId="{20684ADD-4AFF-4250-85DE-3B64EA42CC2B}" type="presParOf" srcId="{14BD22F7-991E-462A-B0D7-2075713FA611}" destId="{7D8C0E8D-C181-4FBD-8CD5-972A56A49965}" srcOrd="6" destOrd="0" presId="urn:microsoft.com/office/officeart/2005/8/layout/default"/>
    <dgm:cxn modelId="{E2CFAA1B-C84D-4B60-8F07-CF776BB9699A}" type="presParOf" srcId="{14BD22F7-991E-462A-B0D7-2075713FA611}" destId="{37A5D24B-E16A-4BF5-AE01-39EA0F4F6406}" srcOrd="7" destOrd="0" presId="urn:microsoft.com/office/officeart/2005/8/layout/default"/>
    <dgm:cxn modelId="{333C35EE-BBB8-4F6E-84B2-B84B9EF73F9A}" type="presParOf" srcId="{14BD22F7-991E-462A-B0D7-2075713FA611}" destId="{5C5D1959-FD49-4F9F-BE4D-0311FDC3F87A}" srcOrd="8" destOrd="0" presId="urn:microsoft.com/office/officeart/2005/8/layout/default"/>
    <dgm:cxn modelId="{82F6D926-E27E-4D4C-B8AE-F57A3D2943FC}" type="presParOf" srcId="{14BD22F7-991E-462A-B0D7-2075713FA611}" destId="{A5020F62-94E2-402A-BECA-C13411AB307A}" srcOrd="9" destOrd="0" presId="urn:microsoft.com/office/officeart/2005/8/layout/default"/>
    <dgm:cxn modelId="{EC45AF70-31FB-494F-A697-6EBAE1705DDE}" type="presParOf" srcId="{14BD22F7-991E-462A-B0D7-2075713FA611}" destId="{7A16D7C9-AA21-4FB5-8281-BD4F74B4254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440D681B-3A20-43A9-BBC5-9F2E67980B8C}"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90D7DCF5-C361-40D0-A7EA-EAB4D8F42E1F}">
      <dgm:prSet custT="1"/>
      <dgm:spPr/>
      <dgm:t>
        <a:bodyPr/>
        <a:lstStyle/>
        <a:p>
          <a:r>
            <a:rPr lang="en-US" sz="2400" baseline="0" dirty="0"/>
            <a:t>Trace Flags 1117 and 1118 behavior enabled by default for TempDB</a:t>
          </a:r>
          <a:endParaRPr lang="en-US" sz="2400" dirty="0"/>
        </a:p>
      </dgm:t>
    </dgm:pt>
    <dgm:pt modelId="{77496F0F-AAE8-4450-9AE0-C258247C25A9}" type="parTrans" cxnId="{9CDC2901-AC3E-4E1F-989D-914E0361AEE6}">
      <dgm:prSet/>
      <dgm:spPr/>
      <dgm:t>
        <a:bodyPr/>
        <a:lstStyle/>
        <a:p>
          <a:endParaRPr lang="en-US" sz="1600"/>
        </a:p>
      </dgm:t>
    </dgm:pt>
    <dgm:pt modelId="{7273A2B4-2FD1-4D1F-B274-69A3E9932305}" type="sibTrans" cxnId="{9CDC2901-AC3E-4E1F-989D-914E0361AEE6}">
      <dgm:prSet/>
      <dgm:spPr/>
      <dgm:t>
        <a:bodyPr/>
        <a:lstStyle/>
        <a:p>
          <a:endParaRPr lang="en-US" sz="1600"/>
        </a:p>
      </dgm:t>
    </dgm:pt>
    <dgm:pt modelId="{BAEAC797-FF02-4F97-8243-2B4EC9922EFB}">
      <dgm:prSet custT="1"/>
      <dgm:spPr/>
      <dgm:t>
        <a:bodyPr/>
        <a:lstStyle/>
        <a:p>
          <a:r>
            <a:rPr lang="en-US" sz="2400" baseline="0" dirty="0"/>
            <a:t>Temporary tables and table variables are cached. </a:t>
          </a:r>
          <a:endParaRPr lang="en-US" sz="2400" dirty="0"/>
        </a:p>
      </dgm:t>
    </dgm:pt>
    <dgm:pt modelId="{624D6ACA-992B-4A8A-AFB5-6A63B43E5115}" type="parTrans" cxnId="{870435AC-5739-451E-935F-0CF926907BAB}">
      <dgm:prSet/>
      <dgm:spPr/>
      <dgm:t>
        <a:bodyPr/>
        <a:lstStyle/>
        <a:p>
          <a:endParaRPr lang="en-US" sz="1600"/>
        </a:p>
      </dgm:t>
    </dgm:pt>
    <dgm:pt modelId="{CD9567EE-0B0E-4B8C-B4EF-57BDD1D4673A}" type="sibTrans" cxnId="{870435AC-5739-451E-935F-0CF926907BAB}">
      <dgm:prSet/>
      <dgm:spPr/>
      <dgm:t>
        <a:bodyPr/>
        <a:lstStyle/>
        <a:p>
          <a:endParaRPr lang="en-US" sz="1600"/>
        </a:p>
      </dgm:t>
    </dgm:pt>
    <dgm:pt modelId="{B4C178FC-7FCB-4384-9967-DF18A1BFB903}">
      <dgm:prSet custT="1"/>
      <dgm:spPr/>
      <dgm:t>
        <a:bodyPr/>
        <a:lstStyle/>
        <a:p>
          <a:r>
            <a:rPr lang="en-US" sz="2400" baseline="0" dirty="0"/>
            <a:t>Allocation page latching protocol improved.</a:t>
          </a:r>
          <a:endParaRPr lang="en-US" sz="2400" dirty="0"/>
        </a:p>
      </dgm:t>
    </dgm:pt>
    <dgm:pt modelId="{55C5B6E1-7C7C-491B-99B7-EC4245DC8FE4}" type="parTrans" cxnId="{FB1A772C-F113-4873-A9CA-D025922E5819}">
      <dgm:prSet/>
      <dgm:spPr/>
      <dgm:t>
        <a:bodyPr/>
        <a:lstStyle/>
        <a:p>
          <a:endParaRPr lang="en-US" sz="1600"/>
        </a:p>
      </dgm:t>
    </dgm:pt>
    <dgm:pt modelId="{35FFDB63-89FF-4BF9-B614-E88D653CAC5D}" type="sibTrans" cxnId="{FB1A772C-F113-4873-A9CA-D025922E5819}">
      <dgm:prSet/>
      <dgm:spPr/>
      <dgm:t>
        <a:bodyPr/>
        <a:lstStyle/>
        <a:p>
          <a:endParaRPr lang="en-US" sz="1600"/>
        </a:p>
      </dgm:t>
    </dgm:pt>
    <dgm:pt modelId="{6922852F-051B-4E33-BFEB-D8A829FFED87}">
      <dgm:prSet custT="1"/>
      <dgm:spPr/>
      <dgm:t>
        <a:bodyPr/>
        <a:lstStyle/>
        <a:p>
          <a:r>
            <a:rPr lang="en-US" sz="2400" baseline="0" dirty="0"/>
            <a:t>Logging overhead for TempDB is reduced.</a:t>
          </a:r>
          <a:endParaRPr lang="en-US" sz="2400" dirty="0"/>
        </a:p>
      </dgm:t>
    </dgm:pt>
    <dgm:pt modelId="{EE680D7A-252D-4235-A3A5-1198ED175EDB}" type="parTrans" cxnId="{15703600-3168-4547-BE15-66BFB4655DB3}">
      <dgm:prSet/>
      <dgm:spPr/>
      <dgm:t>
        <a:bodyPr/>
        <a:lstStyle/>
        <a:p>
          <a:endParaRPr lang="en-US" sz="1600"/>
        </a:p>
      </dgm:t>
    </dgm:pt>
    <dgm:pt modelId="{3443487E-1395-4300-A47B-811DF9CD37FB}" type="sibTrans" cxnId="{15703600-3168-4547-BE15-66BFB4655DB3}">
      <dgm:prSet/>
      <dgm:spPr/>
      <dgm:t>
        <a:bodyPr/>
        <a:lstStyle/>
        <a:p>
          <a:endParaRPr lang="en-US" sz="1600"/>
        </a:p>
      </dgm:t>
    </dgm:pt>
    <dgm:pt modelId="{04E53624-7157-400F-A2FD-966934930929}" type="pres">
      <dgm:prSet presAssocID="{440D681B-3A20-43A9-BBC5-9F2E67980B8C}" presName="diagram" presStyleCnt="0">
        <dgm:presLayoutVars>
          <dgm:dir/>
          <dgm:resizeHandles val="exact"/>
        </dgm:presLayoutVars>
      </dgm:prSet>
      <dgm:spPr/>
    </dgm:pt>
    <dgm:pt modelId="{A4D5EC4D-CBE8-4CBE-8720-9892BCEB45F2}" type="pres">
      <dgm:prSet presAssocID="{90D7DCF5-C361-40D0-A7EA-EAB4D8F42E1F}" presName="node" presStyleLbl="node1" presStyleIdx="0" presStyleCnt="4">
        <dgm:presLayoutVars>
          <dgm:bulletEnabled val="1"/>
        </dgm:presLayoutVars>
      </dgm:prSet>
      <dgm:spPr/>
    </dgm:pt>
    <dgm:pt modelId="{A888D341-706E-41A6-8AAB-D327102271F4}" type="pres">
      <dgm:prSet presAssocID="{7273A2B4-2FD1-4D1F-B274-69A3E9932305}" presName="sibTrans" presStyleCnt="0"/>
      <dgm:spPr/>
    </dgm:pt>
    <dgm:pt modelId="{44A64F2E-54C4-4541-A3C6-A973756CBEC7}" type="pres">
      <dgm:prSet presAssocID="{BAEAC797-FF02-4F97-8243-2B4EC9922EFB}" presName="node" presStyleLbl="node1" presStyleIdx="1" presStyleCnt="4">
        <dgm:presLayoutVars>
          <dgm:bulletEnabled val="1"/>
        </dgm:presLayoutVars>
      </dgm:prSet>
      <dgm:spPr/>
    </dgm:pt>
    <dgm:pt modelId="{41C261A0-54A5-4FCD-8DFC-7AB39DAEC8A4}" type="pres">
      <dgm:prSet presAssocID="{CD9567EE-0B0E-4B8C-B4EF-57BDD1D4673A}" presName="sibTrans" presStyleCnt="0"/>
      <dgm:spPr/>
    </dgm:pt>
    <dgm:pt modelId="{0AE8E446-DCA6-4890-83C4-339778F83471}" type="pres">
      <dgm:prSet presAssocID="{B4C178FC-7FCB-4384-9967-DF18A1BFB903}" presName="node" presStyleLbl="node1" presStyleIdx="2" presStyleCnt="4">
        <dgm:presLayoutVars>
          <dgm:bulletEnabled val="1"/>
        </dgm:presLayoutVars>
      </dgm:prSet>
      <dgm:spPr/>
    </dgm:pt>
    <dgm:pt modelId="{0A57DA93-C227-4D06-9C1D-564DB4BF50F4}" type="pres">
      <dgm:prSet presAssocID="{35FFDB63-89FF-4BF9-B614-E88D653CAC5D}" presName="sibTrans" presStyleCnt="0"/>
      <dgm:spPr/>
    </dgm:pt>
    <dgm:pt modelId="{FF76BC0E-757E-4718-A4B1-B3BFFB5BEC79}" type="pres">
      <dgm:prSet presAssocID="{6922852F-051B-4E33-BFEB-D8A829FFED87}" presName="node" presStyleLbl="node1" presStyleIdx="3" presStyleCnt="4">
        <dgm:presLayoutVars>
          <dgm:bulletEnabled val="1"/>
        </dgm:presLayoutVars>
      </dgm:prSet>
      <dgm:spPr/>
    </dgm:pt>
  </dgm:ptLst>
  <dgm:cxnLst>
    <dgm:cxn modelId="{15703600-3168-4547-BE15-66BFB4655DB3}" srcId="{440D681B-3A20-43A9-BBC5-9F2E67980B8C}" destId="{6922852F-051B-4E33-BFEB-D8A829FFED87}" srcOrd="3" destOrd="0" parTransId="{EE680D7A-252D-4235-A3A5-1198ED175EDB}" sibTransId="{3443487E-1395-4300-A47B-811DF9CD37FB}"/>
    <dgm:cxn modelId="{9CDC2901-AC3E-4E1F-989D-914E0361AEE6}" srcId="{440D681B-3A20-43A9-BBC5-9F2E67980B8C}" destId="{90D7DCF5-C361-40D0-A7EA-EAB4D8F42E1F}" srcOrd="0" destOrd="0" parTransId="{77496F0F-AAE8-4450-9AE0-C258247C25A9}" sibTransId="{7273A2B4-2FD1-4D1F-B274-69A3E9932305}"/>
    <dgm:cxn modelId="{FB1A772C-F113-4873-A9CA-D025922E5819}" srcId="{440D681B-3A20-43A9-BBC5-9F2E67980B8C}" destId="{B4C178FC-7FCB-4384-9967-DF18A1BFB903}" srcOrd="2" destOrd="0" parTransId="{55C5B6E1-7C7C-491B-99B7-EC4245DC8FE4}" sibTransId="{35FFDB63-89FF-4BF9-B614-E88D653CAC5D}"/>
    <dgm:cxn modelId="{022C7C6A-4826-4762-8B9D-0EC0AA120A6A}" type="presOf" srcId="{B4C178FC-7FCB-4384-9967-DF18A1BFB903}" destId="{0AE8E446-DCA6-4890-83C4-339778F83471}" srcOrd="0" destOrd="0" presId="urn:microsoft.com/office/officeart/2005/8/layout/default"/>
    <dgm:cxn modelId="{B0030E51-1626-40A4-B390-4FAA96C34773}" type="presOf" srcId="{90D7DCF5-C361-40D0-A7EA-EAB4D8F42E1F}" destId="{A4D5EC4D-CBE8-4CBE-8720-9892BCEB45F2}" srcOrd="0" destOrd="0" presId="urn:microsoft.com/office/officeart/2005/8/layout/default"/>
    <dgm:cxn modelId="{3FA7DD83-F65D-4CF3-A9B8-058DDFB0E931}" type="presOf" srcId="{440D681B-3A20-43A9-BBC5-9F2E67980B8C}" destId="{04E53624-7157-400F-A2FD-966934930929}" srcOrd="0" destOrd="0" presId="urn:microsoft.com/office/officeart/2005/8/layout/default"/>
    <dgm:cxn modelId="{36C18290-AD82-4EF9-A838-20EF150EA0AF}" type="presOf" srcId="{BAEAC797-FF02-4F97-8243-2B4EC9922EFB}" destId="{44A64F2E-54C4-4541-A3C6-A973756CBEC7}" srcOrd="0" destOrd="0" presId="urn:microsoft.com/office/officeart/2005/8/layout/default"/>
    <dgm:cxn modelId="{F4653D9D-3BBE-4DE1-8425-B56E8660A724}" type="presOf" srcId="{6922852F-051B-4E33-BFEB-D8A829FFED87}" destId="{FF76BC0E-757E-4718-A4B1-B3BFFB5BEC79}" srcOrd="0" destOrd="0" presId="urn:microsoft.com/office/officeart/2005/8/layout/default"/>
    <dgm:cxn modelId="{870435AC-5739-451E-935F-0CF926907BAB}" srcId="{440D681B-3A20-43A9-BBC5-9F2E67980B8C}" destId="{BAEAC797-FF02-4F97-8243-2B4EC9922EFB}" srcOrd="1" destOrd="0" parTransId="{624D6ACA-992B-4A8A-AFB5-6A63B43E5115}" sibTransId="{CD9567EE-0B0E-4B8C-B4EF-57BDD1D4673A}"/>
    <dgm:cxn modelId="{FE5F684A-F3BF-4DD9-9347-1C6E0E658E22}" type="presParOf" srcId="{04E53624-7157-400F-A2FD-966934930929}" destId="{A4D5EC4D-CBE8-4CBE-8720-9892BCEB45F2}" srcOrd="0" destOrd="0" presId="urn:microsoft.com/office/officeart/2005/8/layout/default"/>
    <dgm:cxn modelId="{C01D0474-2705-4591-95DB-EAA6390EAE65}" type="presParOf" srcId="{04E53624-7157-400F-A2FD-966934930929}" destId="{A888D341-706E-41A6-8AAB-D327102271F4}" srcOrd="1" destOrd="0" presId="urn:microsoft.com/office/officeart/2005/8/layout/default"/>
    <dgm:cxn modelId="{4CED8878-E9BB-4E36-B7C9-BEADF6D51AA9}" type="presParOf" srcId="{04E53624-7157-400F-A2FD-966934930929}" destId="{44A64F2E-54C4-4541-A3C6-A973756CBEC7}" srcOrd="2" destOrd="0" presId="urn:microsoft.com/office/officeart/2005/8/layout/default"/>
    <dgm:cxn modelId="{A7D244A2-F3D4-4C07-8BEC-BE31A9CF85F7}" type="presParOf" srcId="{04E53624-7157-400F-A2FD-966934930929}" destId="{41C261A0-54A5-4FCD-8DFC-7AB39DAEC8A4}" srcOrd="3" destOrd="0" presId="urn:microsoft.com/office/officeart/2005/8/layout/default"/>
    <dgm:cxn modelId="{38CEE570-17C8-450A-B22F-7F68A5B05C9E}" type="presParOf" srcId="{04E53624-7157-400F-A2FD-966934930929}" destId="{0AE8E446-DCA6-4890-83C4-339778F83471}" srcOrd="4" destOrd="0" presId="urn:microsoft.com/office/officeart/2005/8/layout/default"/>
    <dgm:cxn modelId="{6A9F7CF0-5CA1-4A56-9D7E-F01625ED0027}" type="presParOf" srcId="{04E53624-7157-400F-A2FD-966934930929}" destId="{0A57DA93-C227-4D06-9C1D-564DB4BF50F4}" srcOrd="5" destOrd="0" presId="urn:microsoft.com/office/officeart/2005/8/layout/default"/>
    <dgm:cxn modelId="{2551ABD3-3C63-4507-8283-F60A31BAA667}" type="presParOf" srcId="{04E53624-7157-400F-A2FD-966934930929}" destId="{FF76BC0E-757E-4718-A4B1-B3BFFB5BEC79}"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7DC689BF-AD99-440C-B714-B520C86244D5}"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67ACC6A5-0D73-478C-8E6E-258753EB1DC2}">
      <dgm:prSet custT="1"/>
      <dgm:spPr/>
      <dgm:t>
        <a:bodyPr/>
        <a:lstStyle/>
        <a:p>
          <a:r>
            <a:rPr lang="en-US" sz="2400" dirty="0"/>
            <a:t>Default</a:t>
          </a:r>
        </a:p>
      </dgm:t>
    </dgm:pt>
    <dgm:pt modelId="{E123172F-019C-48E4-B549-78B29A50F44B}" type="parTrans" cxnId="{38A65982-667A-4F40-BDB7-83776C5C729D}">
      <dgm:prSet/>
      <dgm:spPr/>
      <dgm:t>
        <a:bodyPr/>
        <a:lstStyle/>
        <a:p>
          <a:endParaRPr lang="en-US" sz="1200"/>
        </a:p>
      </dgm:t>
    </dgm:pt>
    <dgm:pt modelId="{D7777D1A-2AED-446F-913B-7F76B421D415}" type="sibTrans" cxnId="{38A65982-667A-4F40-BDB7-83776C5C729D}">
      <dgm:prSet/>
      <dgm:spPr/>
      <dgm:t>
        <a:bodyPr/>
        <a:lstStyle/>
        <a:p>
          <a:endParaRPr lang="en-US" sz="1200"/>
        </a:p>
      </dgm:t>
    </dgm:pt>
    <dgm:pt modelId="{F1C33CFB-D07F-4F88-B0A4-8EAF7CEFA3D6}">
      <dgm:prSet custT="1"/>
      <dgm:spPr/>
      <dgm:t>
        <a:bodyPr/>
        <a:lstStyle/>
        <a:p>
          <a:r>
            <a:rPr lang="en-US" sz="2000" dirty="0"/>
            <a:t>Temp table cache improvements</a:t>
          </a:r>
        </a:p>
      </dgm:t>
    </dgm:pt>
    <dgm:pt modelId="{3C96AB31-7BAD-4F58-9B5F-816D8CED3C8A}" type="parTrans" cxnId="{D271BED2-4024-437A-BB55-E6FFCADC1763}">
      <dgm:prSet/>
      <dgm:spPr/>
      <dgm:t>
        <a:bodyPr/>
        <a:lstStyle/>
        <a:p>
          <a:endParaRPr lang="en-US" sz="1200"/>
        </a:p>
      </dgm:t>
    </dgm:pt>
    <dgm:pt modelId="{69FBF2E6-DEC5-4C66-BD13-E429869947E8}" type="sibTrans" cxnId="{D271BED2-4024-437A-BB55-E6FFCADC1763}">
      <dgm:prSet/>
      <dgm:spPr/>
      <dgm:t>
        <a:bodyPr/>
        <a:lstStyle/>
        <a:p>
          <a:endParaRPr lang="en-US" sz="1200"/>
        </a:p>
      </dgm:t>
    </dgm:pt>
    <dgm:pt modelId="{3362F1A4-CBF4-4CA4-A00A-3F6D0902646E}">
      <dgm:prSet custT="1"/>
      <dgm:spPr/>
      <dgm:t>
        <a:bodyPr/>
        <a:lstStyle/>
        <a:p>
          <a:r>
            <a:rPr lang="en-US" sz="2000" dirty="0"/>
            <a:t>Concurrent PFS updates</a:t>
          </a:r>
        </a:p>
      </dgm:t>
    </dgm:pt>
    <dgm:pt modelId="{855017B2-BA20-4C9C-A23F-5CBEEE3FFBAB}" type="parTrans" cxnId="{7A57B764-835A-4920-A71B-97C3CA94F075}">
      <dgm:prSet/>
      <dgm:spPr/>
      <dgm:t>
        <a:bodyPr/>
        <a:lstStyle/>
        <a:p>
          <a:endParaRPr lang="en-US" sz="1200"/>
        </a:p>
      </dgm:t>
    </dgm:pt>
    <dgm:pt modelId="{B515BBBB-8B42-4A7D-8196-ABAD6967DCD1}" type="sibTrans" cxnId="{7A57B764-835A-4920-A71B-97C3CA94F075}">
      <dgm:prSet/>
      <dgm:spPr/>
      <dgm:t>
        <a:bodyPr/>
        <a:lstStyle/>
        <a:p>
          <a:endParaRPr lang="en-US" sz="1200"/>
        </a:p>
      </dgm:t>
    </dgm:pt>
    <dgm:pt modelId="{8A2B5EFA-DB19-42CF-B18B-B446A12A7EC6}">
      <dgm:prSet custT="1"/>
      <dgm:spPr/>
      <dgm:t>
        <a:bodyPr/>
        <a:lstStyle/>
        <a:p>
          <a:r>
            <a:rPr lang="en-US" sz="2400" dirty="0"/>
            <a:t>Opt-in</a:t>
          </a:r>
        </a:p>
      </dgm:t>
    </dgm:pt>
    <dgm:pt modelId="{AE6550AE-5B8B-4D58-A77C-1DA603D9CE61}" type="parTrans" cxnId="{77141E1D-D6B9-4FF8-A2D4-F95BDA9C2E5D}">
      <dgm:prSet/>
      <dgm:spPr/>
      <dgm:t>
        <a:bodyPr/>
        <a:lstStyle/>
        <a:p>
          <a:endParaRPr lang="en-US" sz="1200"/>
        </a:p>
      </dgm:t>
    </dgm:pt>
    <dgm:pt modelId="{B59976CB-830F-4366-89E9-C686E0C6F761}" type="sibTrans" cxnId="{77141E1D-D6B9-4FF8-A2D4-F95BDA9C2E5D}">
      <dgm:prSet/>
      <dgm:spPr/>
      <dgm:t>
        <a:bodyPr/>
        <a:lstStyle/>
        <a:p>
          <a:endParaRPr lang="en-US" sz="1200"/>
        </a:p>
      </dgm:t>
    </dgm:pt>
    <dgm:pt modelId="{407DF0B3-3E40-4DDF-87DA-26817C2C393D}">
      <dgm:prSet custT="1"/>
      <dgm:spPr/>
      <dgm:t>
        <a:bodyPr/>
        <a:lstStyle/>
        <a:p>
          <a:r>
            <a:rPr lang="en-US" sz="2000" dirty="0"/>
            <a:t>Memory-Optimized TempDB Metadata</a:t>
          </a:r>
        </a:p>
      </dgm:t>
    </dgm:pt>
    <dgm:pt modelId="{7266615E-5220-40D9-9A53-18CE182447C8}" type="parTrans" cxnId="{995FFF7B-D1E3-417F-BED0-1855069FF053}">
      <dgm:prSet/>
      <dgm:spPr/>
      <dgm:t>
        <a:bodyPr/>
        <a:lstStyle/>
        <a:p>
          <a:endParaRPr lang="en-US" sz="1200"/>
        </a:p>
      </dgm:t>
    </dgm:pt>
    <dgm:pt modelId="{EA735844-21B3-4F91-BFC8-F31641344F09}" type="sibTrans" cxnId="{995FFF7B-D1E3-417F-BED0-1855069FF053}">
      <dgm:prSet/>
      <dgm:spPr/>
      <dgm:t>
        <a:bodyPr/>
        <a:lstStyle/>
        <a:p>
          <a:endParaRPr lang="en-US" sz="1200"/>
        </a:p>
      </dgm:t>
    </dgm:pt>
    <dgm:pt modelId="{919EF28C-7B91-43C9-8785-5F7DBCC99841}" type="pres">
      <dgm:prSet presAssocID="{7DC689BF-AD99-440C-B714-B520C86244D5}" presName="Name0" presStyleCnt="0">
        <dgm:presLayoutVars>
          <dgm:dir/>
          <dgm:animLvl val="lvl"/>
          <dgm:resizeHandles val="exact"/>
        </dgm:presLayoutVars>
      </dgm:prSet>
      <dgm:spPr/>
    </dgm:pt>
    <dgm:pt modelId="{201E8068-39FE-46C8-AD7B-0171CD37E1CA}" type="pres">
      <dgm:prSet presAssocID="{67ACC6A5-0D73-478C-8E6E-258753EB1DC2}" presName="composite" presStyleCnt="0"/>
      <dgm:spPr/>
    </dgm:pt>
    <dgm:pt modelId="{D9947562-EE5E-4366-A87E-0C77C13163CC}" type="pres">
      <dgm:prSet presAssocID="{67ACC6A5-0D73-478C-8E6E-258753EB1DC2}" presName="parTx" presStyleLbl="alignNode1" presStyleIdx="0" presStyleCnt="2">
        <dgm:presLayoutVars>
          <dgm:chMax val="0"/>
          <dgm:chPref val="0"/>
          <dgm:bulletEnabled val="1"/>
        </dgm:presLayoutVars>
      </dgm:prSet>
      <dgm:spPr/>
    </dgm:pt>
    <dgm:pt modelId="{6351C792-56D4-4FB6-ABBD-639A5B7CD53A}" type="pres">
      <dgm:prSet presAssocID="{67ACC6A5-0D73-478C-8E6E-258753EB1DC2}" presName="desTx" presStyleLbl="alignAccFollowNode1" presStyleIdx="0" presStyleCnt="2">
        <dgm:presLayoutVars>
          <dgm:bulletEnabled val="1"/>
        </dgm:presLayoutVars>
      </dgm:prSet>
      <dgm:spPr/>
    </dgm:pt>
    <dgm:pt modelId="{F9177F30-C531-4C0A-BFAA-6A7BFD13E670}" type="pres">
      <dgm:prSet presAssocID="{D7777D1A-2AED-446F-913B-7F76B421D415}" presName="space" presStyleCnt="0"/>
      <dgm:spPr/>
    </dgm:pt>
    <dgm:pt modelId="{A2C22491-557D-4560-B5E1-35DBE9C434A3}" type="pres">
      <dgm:prSet presAssocID="{8A2B5EFA-DB19-42CF-B18B-B446A12A7EC6}" presName="composite" presStyleCnt="0"/>
      <dgm:spPr/>
    </dgm:pt>
    <dgm:pt modelId="{D3753214-71DB-47E9-89C7-BB5CD65E2EA6}" type="pres">
      <dgm:prSet presAssocID="{8A2B5EFA-DB19-42CF-B18B-B446A12A7EC6}" presName="parTx" presStyleLbl="alignNode1" presStyleIdx="1" presStyleCnt="2">
        <dgm:presLayoutVars>
          <dgm:chMax val="0"/>
          <dgm:chPref val="0"/>
          <dgm:bulletEnabled val="1"/>
        </dgm:presLayoutVars>
      </dgm:prSet>
      <dgm:spPr/>
    </dgm:pt>
    <dgm:pt modelId="{00F8EF06-A708-4F18-8A8E-432849871C19}" type="pres">
      <dgm:prSet presAssocID="{8A2B5EFA-DB19-42CF-B18B-B446A12A7EC6}" presName="desTx" presStyleLbl="alignAccFollowNode1" presStyleIdx="1" presStyleCnt="2">
        <dgm:presLayoutVars>
          <dgm:bulletEnabled val="1"/>
        </dgm:presLayoutVars>
      </dgm:prSet>
      <dgm:spPr/>
    </dgm:pt>
  </dgm:ptLst>
  <dgm:cxnLst>
    <dgm:cxn modelId="{77141E1D-D6B9-4FF8-A2D4-F95BDA9C2E5D}" srcId="{7DC689BF-AD99-440C-B714-B520C86244D5}" destId="{8A2B5EFA-DB19-42CF-B18B-B446A12A7EC6}" srcOrd="1" destOrd="0" parTransId="{AE6550AE-5B8B-4D58-A77C-1DA603D9CE61}" sibTransId="{B59976CB-830F-4366-89E9-C686E0C6F761}"/>
    <dgm:cxn modelId="{79B99A2F-5961-48F8-9569-81723D0DF88B}" type="presOf" srcId="{8A2B5EFA-DB19-42CF-B18B-B446A12A7EC6}" destId="{D3753214-71DB-47E9-89C7-BB5CD65E2EA6}" srcOrd="0" destOrd="0" presId="urn:microsoft.com/office/officeart/2005/8/layout/hList1"/>
    <dgm:cxn modelId="{7A57B764-835A-4920-A71B-97C3CA94F075}" srcId="{67ACC6A5-0D73-478C-8E6E-258753EB1DC2}" destId="{3362F1A4-CBF4-4CA4-A00A-3F6D0902646E}" srcOrd="1" destOrd="0" parTransId="{855017B2-BA20-4C9C-A23F-5CBEEE3FFBAB}" sibTransId="{B515BBBB-8B42-4A7D-8196-ABAD6967DCD1}"/>
    <dgm:cxn modelId="{995FFF7B-D1E3-417F-BED0-1855069FF053}" srcId="{8A2B5EFA-DB19-42CF-B18B-B446A12A7EC6}" destId="{407DF0B3-3E40-4DDF-87DA-26817C2C393D}" srcOrd="0" destOrd="0" parTransId="{7266615E-5220-40D9-9A53-18CE182447C8}" sibTransId="{EA735844-21B3-4F91-BFC8-F31641344F09}"/>
    <dgm:cxn modelId="{38A65982-667A-4F40-BDB7-83776C5C729D}" srcId="{7DC689BF-AD99-440C-B714-B520C86244D5}" destId="{67ACC6A5-0D73-478C-8E6E-258753EB1DC2}" srcOrd="0" destOrd="0" parTransId="{E123172F-019C-48E4-B549-78B29A50F44B}" sibTransId="{D7777D1A-2AED-446F-913B-7F76B421D415}"/>
    <dgm:cxn modelId="{2392508B-B4E4-4EFC-8D48-4D5190FE1EE1}" type="presOf" srcId="{3362F1A4-CBF4-4CA4-A00A-3F6D0902646E}" destId="{6351C792-56D4-4FB6-ABBD-639A5B7CD53A}" srcOrd="0" destOrd="1" presId="urn:microsoft.com/office/officeart/2005/8/layout/hList1"/>
    <dgm:cxn modelId="{FD040CA5-30E0-4E39-ADBC-7DBF1BAFABD4}" type="presOf" srcId="{407DF0B3-3E40-4DDF-87DA-26817C2C393D}" destId="{00F8EF06-A708-4F18-8A8E-432849871C19}" srcOrd="0" destOrd="0" presId="urn:microsoft.com/office/officeart/2005/8/layout/hList1"/>
    <dgm:cxn modelId="{D271BED2-4024-437A-BB55-E6FFCADC1763}" srcId="{67ACC6A5-0D73-478C-8E6E-258753EB1DC2}" destId="{F1C33CFB-D07F-4F88-B0A4-8EAF7CEFA3D6}" srcOrd="0" destOrd="0" parTransId="{3C96AB31-7BAD-4F58-9B5F-816D8CED3C8A}" sibTransId="{69FBF2E6-DEC5-4C66-BD13-E429869947E8}"/>
    <dgm:cxn modelId="{30D545E1-BC0A-49F9-BBA1-C8516B4E3733}" type="presOf" srcId="{F1C33CFB-D07F-4F88-B0A4-8EAF7CEFA3D6}" destId="{6351C792-56D4-4FB6-ABBD-639A5B7CD53A}" srcOrd="0" destOrd="0" presId="urn:microsoft.com/office/officeart/2005/8/layout/hList1"/>
    <dgm:cxn modelId="{1F1506F7-38C0-4AA0-84CF-309779CD5107}" type="presOf" srcId="{7DC689BF-AD99-440C-B714-B520C86244D5}" destId="{919EF28C-7B91-43C9-8785-5F7DBCC99841}" srcOrd="0" destOrd="0" presId="urn:microsoft.com/office/officeart/2005/8/layout/hList1"/>
    <dgm:cxn modelId="{793249FD-9E68-4F26-8E00-A45DACBDECB0}" type="presOf" srcId="{67ACC6A5-0D73-478C-8E6E-258753EB1DC2}" destId="{D9947562-EE5E-4366-A87E-0C77C13163CC}" srcOrd="0" destOrd="0" presId="urn:microsoft.com/office/officeart/2005/8/layout/hList1"/>
    <dgm:cxn modelId="{6C62BF32-74EC-4601-BFEE-82559C0F4F44}" type="presParOf" srcId="{919EF28C-7B91-43C9-8785-5F7DBCC99841}" destId="{201E8068-39FE-46C8-AD7B-0171CD37E1CA}" srcOrd="0" destOrd="0" presId="urn:microsoft.com/office/officeart/2005/8/layout/hList1"/>
    <dgm:cxn modelId="{82213CD9-06CB-42C1-922C-8F9CF9593A0B}" type="presParOf" srcId="{201E8068-39FE-46C8-AD7B-0171CD37E1CA}" destId="{D9947562-EE5E-4366-A87E-0C77C13163CC}" srcOrd="0" destOrd="0" presId="urn:microsoft.com/office/officeart/2005/8/layout/hList1"/>
    <dgm:cxn modelId="{F5531FC1-5761-483B-BCB2-1CD0607A1C65}" type="presParOf" srcId="{201E8068-39FE-46C8-AD7B-0171CD37E1CA}" destId="{6351C792-56D4-4FB6-ABBD-639A5B7CD53A}" srcOrd="1" destOrd="0" presId="urn:microsoft.com/office/officeart/2005/8/layout/hList1"/>
    <dgm:cxn modelId="{F272A5D9-8B2B-4F78-B6B4-C3A4FFD55E45}" type="presParOf" srcId="{919EF28C-7B91-43C9-8785-5F7DBCC99841}" destId="{F9177F30-C531-4C0A-BFAA-6A7BFD13E670}" srcOrd="1" destOrd="0" presId="urn:microsoft.com/office/officeart/2005/8/layout/hList1"/>
    <dgm:cxn modelId="{10644D4B-A205-49A4-982D-56927DEC75A4}" type="presParOf" srcId="{919EF28C-7B91-43C9-8785-5F7DBCC99841}" destId="{A2C22491-557D-4560-B5E1-35DBE9C434A3}" srcOrd="2" destOrd="0" presId="urn:microsoft.com/office/officeart/2005/8/layout/hList1"/>
    <dgm:cxn modelId="{0930C990-5EA2-41EB-8347-744AF5B3628C}" type="presParOf" srcId="{A2C22491-557D-4560-B5E1-35DBE9C434A3}" destId="{D3753214-71DB-47E9-89C7-BB5CD65E2EA6}" srcOrd="0" destOrd="0" presId="urn:microsoft.com/office/officeart/2005/8/layout/hList1"/>
    <dgm:cxn modelId="{C21606EE-ECF6-4C63-823F-66957CBE88F6}" type="presParOf" srcId="{A2C22491-557D-4560-B5E1-35DBE9C434A3}" destId="{00F8EF06-A708-4F18-8A8E-432849871C1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605C6EDE-4944-467E-B2EF-16E0FFEFF5A3}"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204D9EAB-2C65-43FC-BA9A-BE1A190FB14B}">
      <dgm:prSet/>
      <dgm:spPr/>
      <dgm:t>
        <a:bodyPr/>
        <a:lstStyle/>
        <a:p>
          <a:r>
            <a:rPr lang="en-US" dirty="0"/>
            <a:t>With this change, not only will increasing the number of files help with PFS contention also increasing the size of the files.</a:t>
          </a:r>
        </a:p>
      </dgm:t>
    </dgm:pt>
    <dgm:pt modelId="{028A9C95-BF00-4E3B-980B-CD15BCAF349D}" type="sibTrans" cxnId="{3F6BAB09-C3DC-4EF2-89D3-1447017C9162}">
      <dgm:prSet/>
      <dgm:spPr/>
      <dgm:t>
        <a:bodyPr/>
        <a:lstStyle/>
        <a:p>
          <a:endParaRPr lang="en-US"/>
        </a:p>
      </dgm:t>
    </dgm:pt>
    <dgm:pt modelId="{D0F410B4-4F18-4981-A5CB-E4AA361846D5}" type="parTrans" cxnId="{3F6BAB09-C3DC-4EF2-89D3-1447017C9162}">
      <dgm:prSet/>
      <dgm:spPr/>
      <dgm:t>
        <a:bodyPr/>
        <a:lstStyle/>
        <a:p>
          <a:endParaRPr lang="en-US"/>
        </a:p>
      </dgm:t>
    </dgm:pt>
    <dgm:pt modelId="{37EEF497-33B6-4FEB-BEE7-0CE961253691}">
      <dgm:prSet/>
      <dgm:spPr/>
      <dgm:t>
        <a:bodyPr/>
        <a:lstStyle/>
        <a:p>
          <a:r>
            <a:rPr lang="en-US" dirty="0"/>
            <a:t>SQL Server 2019 introduced Concurrent PFS Updates. </a:t>
          </a:r>
        </a:p>
      </dgm:t>
    </dgm:pt>
    <dgm:pt modelId="{4E0A04ED-2059-40C2-BB43-AC4D8ACAA7A2}" type="parTrans" cxnId="{749A6D1F-792D-46D3-8756-0A1239A49525}">
      <dgm:prSet/>
      <dgm:spPr/>
      <dgm:t>
        <a:bodyPr/>
        <a:lstStyle/>
        <a:p>
          <a:endParaRPr lang="en-US"/>
        </a:p>
      </dgm:t>
    </dgm:pt>
    <dgm:pt modelId="{D3796D31-425E-4CAC-ADDB-76C0E2D6CDF5}" type="sibTrans" cxnId="{749A6D1F-792D-46D3-8756-0A1239A49525}">
      <dgm:prSet/>
      <dgm:spPr/>
      <dgm:t>
        <a:bodyPr/>
        <a:lstStyle/>
        <a:p>
          <a:endParaRPr lang="en-US"/>
        </a:p>
      </dgm:t>
    </dgm:pt>
    <dgm:pt modelId="{2447C5F1-8C98-419E-96D2-7554EEBE8090}">
      <dgm:prSet/>
      <dgm:spPr/>
      <dgm:t>
        <a:bodyPr/>
        <a:lstStyle/>
        <a:p>
          <a:pPr>
            <a:buNone/>
          </a:pPr>
          <a:r>
            <a:rPr lang="en-US" dirty="0"/>
            <a:t>New algorithm to round robin between files, and between PFS pages within the files.</a:t>
          </a:r>
        </a:p>
      </dgm:t>
    </dgm:pt>
    <dgm:pt modelId="{E649AB60-44CC-4D84-8805-7E0C66EE8A85}" type="parTrans" cxnId="{53EC1A40-139D-420B-BA96-E087D2A0E9B1}">
      <dgm:prSet/>
      <dgm:spPr/>
      <dgm:t>
        <a:bodyPr/>
        <a:lstStyle/>
        <a:p>
          <a:endParaRPr lang="en-US"/>
        </a:p>
      </dgm:t>
    </dgm:pt>
    <dgm:pt modelId="{EC99BC8C-0BAC-478A-9D01-E9939C9EEF5A}" type="sibTrans" cxnId="{53EC1A40-139D-420B-BA96-E087D2A0E9B1}">
      <dgm:prSet/>
      <dgm:spPr/>
      <dgm:t>
        <a:bodyPr/>
        <a:lstStyle/>
        <a:p>
          <a:endParaRPr lang="en-US"/>
        </a:p>
      </dgm:t>
    </dgm:pt>
    <dgm:pt modelId="{F03703EB-34F3-46D3-9920-06075B3CF7BC}">
      <dgm:prSet/>
      <dgm:spPr/>
      <dgm:t>
        <a:bodyPr/>
        <a:lstStyle/>
        <a:p>
          <a:r>
            <a:rPr lang="en-US" dirty="0"/>
            <a:t>SQL Server 2022 introduced Concurrent GAM and SGAM Updates. </a:t>
          </a:r>
        </a:p>
      </dgm:t>
    </dgm:pt>
    <dgm:pt modelId="{9F31D314-9B2F-4F6D-9964-161DEB5276A6}" type="parTrans" cxnId="{A994D6D9-9D45-4CA0-8EC5-A665BA4F318F}">
      <dgm:prSet/>
      <dgm:spPr/>
      <dgm:t>
        <a:bodyPr/>
        <a:lstStyle/>
        <a:p>
          <a:endParaRPr lang="en-US"/>
        </a:p>
      </dgm:t>
    </dgm:pt>
    <dgm:pt modelId="{577BE472-FDC7-40BF-85F2-68B590D1068B}" type="sibTrans" cxnId="{A994D6D9-9D45-4CA0-8EC5-A665BA4F318F}">
      <dgm:prSet/>
      <dgm:spPr/>
      <dgm:t>
        <a:bodyPr/>
        <a:lstStyle/>
        <a:p>
          <a:endParaRPr lang="en-US"/>
        </a:p>
      </dgm:t>
    </dgm:pt>
    <dgm:pt modelId="{418FB02A-68EE-4EE9-9BD8-C734B85664F3}" type="pres">
      <dgm:prSet presAssocID="{605C6EDE-4944-467E-B2EF-16E0FFEFF5A3}" presName="linear" presStyleCnt="0">
        <dgm:presLayoutVars>
          <dgm:animLvl val="lvl"/>
          <dgm:resizeHandles val="exact"/>
        </dgm:presLayoutVars>
      </dgm:prSet>
      <dgm:spPr/>
    </dgm:pt>
    <dgm:pt modelId="{AD4ABAF7-B397-4771-A73C-F70409110BD0}" type="pres">
      <dgm:prSet presAssocID="{2447C5F1-8C98-419E-96D2-7554EEBE8090}" presName="parentText" presStyleLbl="node1" presStyleIdx="0" presStyleCnt="4">
        <dgm:presLayoutVars>
          <dgm:chMax val="0"/>
          <dgm:bulletEnabled val="1"/>
        </dgm:presLayoutVars>
      </dgm:prSet>
      <dgm:spPr/>
    </dgm:pt>
    <dgm:pt modelId="{E2B01216-71FD-4436-8DEE-F51B16440021}" type="pres">
      <dgm:prSet presAssocID="{EC99BC8C-0BAC-478A-9D01-E9939C9EEF5A}" presName="spacer" presStyleCnt="0"/>
      <dgm:spPr/>
    </dgm:pt>
    <dgm:pt modelId="{BB3BA1B9-698A-4E65-B1D9-1250BA80FD86}" type="pres">
      <dgm:prSet presAssocID="{204D9EAB-2C65-43FC-BA9A-BE1A190FB14B}" presName="parentText" presStyleLbl="node1" presStyleIdx="1" presStyleCnt="4" custLinFactNeighborY="33612">
        <dgm:presLayoutVars>
          <dgm:chMax val="0"/>
          <dgm:bulletEnabled val="1"/>
        </dgm:presLayoutVars>
      </dgm:prSet>
      <dgm:spPr/>
    </dgm:pt>
    <dgm:pt modelId="{13FC4580-42B4-4541-9B94-84DC117BCCD0}" type="pres">
      <dgm:prSet presAssocID="{028A9C95-BF00-4E3B-980B-CD15BCAF349D}" presName="spacer" presStyleCnt="0"/>
      <dgm:spPr/>
    </dgm:pt>
    <dgm:pt modelId="{E386F5B6-B1AE-4D47-8A83-2F270C921C3A}" type="pres">
      <dgm:prSet presAssocID="{37EEF497-33B6-4FEB-BEE7-0CE961253691}" presName="parentText" presStyleLbl="node1" presStyleIdx="2" presStyleCnt="4">
        <dgm:presLayoutVars>
          <dgm:chMax val="0"/>
          <dgm:bulletEnabled val="1"/>
        </dgm:presLayoutVars>
      </dgm:prSet>
      <dgm:spPr/>
    </dgm:pt>
    <dgm:pt modelId="{CE74E94B-0B12-4812-80E3-879170066328}" type="pres">
      <dgm:prSet presAssocID="{D3796D31-425E-4CAC-ADDB-76C0E2D6CDF5}" presName="spacer" presStyleCnt="0"/>
      <dgm:spPr/>
    </dgm:pt>
    <dgm:pt modelId="{BC72A263-140E-401B-96AA-1D89233E58B5}" type="pres">
      <dgm:prSet presAssocID="{F03703EB-34F3-46D3-9920-06075B3CF7BC}" presName="parentText" presStyleLbl="node1" presStyleIdx="3" presStyleCnt="4">
        <dgm:presLayoutVars>
          <dgm:chMax val="0"/>
          <dgm:bulletEnabled val="1"/>
        </dgm:presLayoutVars>
      </dgm:prSet>
      <dgm:spPr/>
    </dgm:pt>
  </dgm:ptLst>
  <dgm:cxnLst>
    <dgm:cxn modelId="{3F6BAB09-C3DC-4EF2-89D3-1447017C9162}" srcId="{605C6EDE-4944-467E-B2EF-16E0FFEFF5A3}" destId="{204D9EAB-2C65-43FC-BA9A-BE1A190FB14B}" srcOrd="1" destOrd="0" parTransId="{D0F410B4-4F18-4981-A5CB-E4AA361846D5}" sibTransId="{028A9C95-BF00-4E3B-980B-CD15BCAF349D}"/>
    <dgm:cxn modelId="{B0FEDF1E-240D-4609-9F83-897D04DA9A81}" type="presOf" srcId="{605C6EDE-4944-467E-B2EF-16E0FFEFF5A3}" destId="{418FB02A-68EE-4EE9-9BD8-C734B85664F3}" srcOrd="0" destOrd="0" presId="urn:microsoft.com/office/officeart/2005/8/layout/vList2"/>
    <dgm:cxn modelId="{749A6D1F-792D-46D3-8756-0A1239A49525}" srcId="{605C6EDE-4944-467E-B2EF-16E0FFEFF5A3}" destId="{37EEF497-33B6-4FEB-BEE7-0CE961253691}" srcOrd="2" destOrd="0" parTransId="{4E0A04ED-2059-40C2-BB43-AC4D8ACAA7A2}" sibTransId="{D3796D31-425E-4CAC-ADDB-76C0E2D6CDF5}"/>
    <dgm:cxn modelId="{ADBEFA2A-F861-4EA1-83E8-9ABE2956664B}" type="presOf" srcId="{204D9EAB-2C65-43FC-BA9A-BE1A190FB14B}" destId="{BB3BA1B9-698A-4E65-B1D9-1250BA80FD86}" srcOrd="0" destOrd="0" presId="urn:microsoft.com/office/officeart/2005/8/layout/vList2"/>
    <dgm:cxn modelId="{53EC1A40-139D-420B-BA96-E087D2A0E9B1}" srcId="{605C6EDE-4944-467E-B2EF-16E0FFEFF5A3}" destId="{2447C5F1-8C98-419E-96D2-7554EEBE8090}" srcOrd="0" destOrd="0" parTransId="{E649AB60-44CC-4D84-8805-7E0C66EE8A85}" sibTransId="{EC99BC8C-0BAC-478A-9D01-E9939C9EEF5A}"/>
    <dgm:cxn modelId="{0B2B7CA1-7139-4369-B785-1C1D335EF48E}" type="presOf" srcId="{37EEF497-33B6-4FEB-BEE7-0CE961253691}" destId="{E386F5B6-B1AE-4D47-8A83-2F270C921C3A}" srcOrd="0" destOrd="0" presId="urn:microsoft.com/office/officeart/2005/8/layout/vList2"/>
    <dgm:cxn modelId="{A994D6D9-9D45-4CA0-8EC5-A665BA4F318F}" srcId="{605C6EDE-4944-467E-B2EF-16E0FFEFF5A3}" destId="{F03703EB-34F3-46D3-9920-06075B3CF7BC}" srcOrd="3" destOrd="0" parTransId="{9F31D314-9B2F-4F6D-9964-161DEB5276A6}" sibTransId="{577BE472-FDC7-40BF-85F2-68B590D1068B}"/>
    <dgm:cxn modelId="{733ACFE5-0EF5-4FA7-82F8-D810C80E1EB0}" type="presOf" srcId="{F03703EB-34F3-46D3-9920-06075B3CF7BC}" destId="{BC72A263-140E-401B-96AA-1D89233E58B5}" srcOrd="0" destOrd="0" presId="urn:microsoft.com/office/officeart/2005/8/layout/vList2"/>
    <dgm:cxn modelId="{8FA0B4EF-4EC8-4ACA-A15A-BB7D75A96222}" type="presOf" srcId="{2447C5F1-8C98-419E-96D2-7554EEBE8090}" destId="{AD4ABAF7-B397-4771-A73C-F70409110BD0}" srcOrd="0" destOrd="0" presId="urn:microsoft.com/office/officeart/2005/8/layout/vList2"/>
    <dgm:cxn modelId="{B2A15D7B-34B0-4C4C-9F6A-620B3B8D6EBC}" type="presParOf" srcId="{418FB02A-68EE-4EE9-9BD8-C734B85664F3}" destId="{AD4ABAF7-B397-4771-A73C-F70409110BD0}" srcOrd="0" destOrd="0" presId="urn:microsoft.com/office/officeart/2005/8/layout/vList2"/>
    <dgm:cxn modelId="{0070EFE2-354D-44B2-BF6F-1509C6F22F16}" type="presParOf" srcId="{418FB02A-68EE-4EE9-9BD8-C734B85664F3}" destId="{E2B01216-71FD-4436-8DEE-F51B16440021}" srcOrd="1" destOrd="0" presId="urn:microsoft.com/office/officeart/2005/8/layout/vList2"/>
    <dgm:cxn modelId="{8B3C06EB-6951-4B94-88A0-F3E0C3D80B44}" type="presParOf" srcId="{418FB02A-68EE-4EE9-9BD8-C734B85664F3}" destId="{BB3BA1B9-698A-4E65-B1D9-1250BA80FD86}" srcOrd="2" destOrd="0" presId="urn:microsoft.com/office/officeart/2005/8/layout/vList2"/>
    <dgm:cxn modelId="{B2EE4179-BC92-45D5-82BF-A9CBBB861890}" type="presParOf" srcId="{418FB02A-68EE-4EE9-9BD8-C734B85664F3}" destId="{13FC4580-42B4-4541-9B94-84DC117BCCD0}" srcOrd="3" destOrd="0" presId="urn:microsoft.com/office/officeart/2005/8/layout/vList2"/>
    <dgm:cxn modelId="{E9B2C4B4-6F3F-42DA-B70A-B533EF17BF1B}" type="presParOf" srcId="{418FB02A-68EE-4EE9-9BD8-C734B85664F3}" destId="{E386F5B6-B1AE-4D47-8A83-2F270C921C3A}" srcOrd="4" destOrd="0" presId="urn:microsoft.com/office/officeart/2005/8/layout/vList2"/>
    <dgm:cxn modelId="{5D59FCD7-DB1A-4B52-B632-7D11482F38DD}" type="presParOf" srcId="{418FB02A-68EE-4EE9-9BD8-C734B85664F3}" destId="{CE74E94B-0B12-4812-80E3-879170066328}" srcOrd="5" destOrd="0" presId="urn:microsoft.com/office/officeart/2005/8/layout/vList2"/>
    <dgm:cxn modelId="{530BBD25-FBD1-437D-A093-90F0CA9D5C00}" type="presParOf" srcId="{418FB02A-68EE-4EE9-9BD8-C734B85664F3}" destId="{BC72A263-140E-401B-96AA-1D89233E58B5}"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stored in TempDB?</a:t>
          </a:r>
        </a:p>
      </dgm:t>
    </dgm:pt>
    <dgm:pt modelId="{74BFB16A-6DC3-47DD-AE97-F15F596B23DF}" type="parTrans" cxnId="{4BB646B5-2A6D-439D-A88F-AC928930541F}">
      <dgm:prSet/>
      <dgm:spPr/>
      <dgm:t>
        <a:bodyPr/>
        <a:lstStyle/>
        <a:p>
          <a:endParaRPr lang="en-US" sz="1100"/>
        </a:p>
      </dgm:t>
    </dgm:pt>
    <dgm:pt modelId="{CAE4D9F8-FDBB-4525-9125-6BAF56328FCE}" type="sibTrans" cxnId="{4BB646B5-2A6D-439D-A88F-AC928930541F}">
      <dgm:prSet/>
      <dgm:spPr/>
      <dgm:t>
        <a:bodyPr/>
        <a:lstStyle/>
        <a:p>
          <a:endParaRPr lang="en-US" sz="1100"/>
        </a:p>
      </dgm:t>
    </dgm:pt>
    <dgm:pt modelId="{418CC07E-60A8-4964-8F8D-DE5072ACF3AE}">
      <dgm:prSet custT="1"/>
      <dgm:spPr/>
      <dgm:t>
        <a:bodyPr/>
        <a:lstStyle/>
        <a:p>
          <a:r>
            <a:rPr lang="en-US" sz="2400" dirty="0"/>
            <a:t>How can you boost TempDB performance?</a:t>
          </a:r>
        </a:p>
      </dgm:t>
    </dgm:pt>
    <dgm:pt modelId="{71830CAB-A849-43AF-B52F-0AA1356AE93A}" type="parTrans" cxnId="{F2229882-6A6F-462F-BD41-A3383DD8D81A}">
      <dgm:prSet/>
      <dgm:spPr/>
      <dgm:t>
        <a:bodyPr/>
        <a:lstStyle/>
        <a:p>
          <a:endParaRPr lang="en-US" sz="1100"/>
        </a:p>
      </dgm:t>
    </dgm:pt>
    <dgm:pt modelId="{83A99661-D9FA-4C77-A79E-390DBD588621}" type="sibTrans" cxnId="{F2229882-6A6F-462F-BD41-A3383DD8D81A}">
      <dgm:prSet/>
      <dgm:spPr/>
      <dgm:t>
        <a:bodyPr/>
        <a:lstStyle/>
        <a:p>
          <a:endParaRPr lang="en-US" sz="11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67C3D060-4C6A-4541-BF2F-6E0231E13AEF}"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14689F11-C203-4BE1-96C4-6C3E3107FC71}">
      <dgm:prSet/>
      <dgm:spPr/>
      <dgm:t>
        <a:bodyPr/>
        <a:lstStyle/>
        <a:p>
          <a:r>
            <a:rPr lang="en-US" dirty="0"/>
            <a:t>One .ldf file per database</a:t>
          </a:r>
        </a:p>
      </dgm:t>
    </dgm:pt>
    <dgm:pt modelId="{92A494D4-D862-4D2A-A2E9-B8EA44A8F33A}" type="parTrans" cxnId="{FD01D657-D196-4644-80C8-E484EE5CC606}">
      <dgm:prSet/>
      <dgm:spPr/>
      <dgm:t>
        <a:bodyPr/>
        <a:lstStyle/>
        <a:p>
          <a:endParaRPr lang="en-US"/>
        </a:p>
      </dgm:t>
    </dgm:pt>
    <dgm:pt modelId="{07C15CCD-45A4-4AC7-B601-92C58B79E4E0}" type="sibTrans" cxnId="{FD01D657-D196-4644-80C8-E484EE5CC606}">
      <dgm:prSet/>
      <dgm:spPr/>
      <dgm:t>
        <a:bodyPr/>
        <a:lstStyle/>
        <a:p>
          <a:endParaRPr lang="en-US"/>
        </a:p>
      </dgm:t>
    </dgm:pt>
    <dgm:pt modelId="{143AAB39-CFBB-4016-83C5-231E444DA3EC}">
      <dgm:prSet/>
      <dgm:spPr/>
      <dgm:t>
        <a:bodyPr/>
        <a:lstStyle/>
        <a:p>
          <a:r>
            <a:rPr lang="en-US" dirty="0"/>
            <a:t>Sequential reads and writes</a:t>
          </a:r>
        </a:p>
      </dgm:t>
    </dgm:pt>
    <dgm:pt modelId="{E638C5C4-90DB-4758-8B9D-79506308AEC9}" type="parTrans" cxnId="{CDC87E36-A4AA-4314-B8ED-E9281BC145ED}">
      <dgm:prSet/>
      <dgm:spPr/>
      <dgm:t>
        <a:bodyPr/>
        <a:lstStyle/>
        <a:p>
          <a:endParaRPr lang="en-US"/>
        </a:p>
      </dgm:t>
    </dgm:pt>
    <dgm:pt modelId="{FF4814A7-F598-46A7-AE46-3EA0F11BE055}" type="sibTrans" cxnId="{CDC87E36-A4AA-4314-B8ED-E9281BC145ED}">
      <dgm:prSet/>
      <dgm:spPr/>
      <dgm:t>
        <a:bodyPr/>
        <a:lstStyle/>
        <a:p>
          <a:endParaRPr lang="en-US"/>
        </a:p>
      </dgm:t>
    </dgm:pt>
    <dgm:pt modelId="{780059AB-DF52-40F8-808E-2E9416259547}">
      <dgm:prSet/>
      <dgm:spPr/>
      <dgm:t>
        <a:bodyPr/>
        <a:lstStyle/>
        <a:p>
          <a:r>
            <a:rPr lang="en-US" dirty="0"/>
            <a:t>Write activity during the log buffer flush operations</a:t>
          </a:r>
        </a:p>
      </dgm:t>
    </dgm:pt>
    <dgm:pt modelId="{7DAE21FC-E0DB-49FC-BB51-632A8740205B}" type="parTrans" cxnId="{673D0B1B-8843-4728-947B-A990209636F4}">
      <dgm:prSet/>
      <dgm:spPr/>
      <dgm:t>
        <a:bodyPr/>
        <a:lstStyle/>
        <a:p>
          <a:endParaRPr lang="en-US"/>
        </a:p>
      </dgm:t>
    </dgm:pt>
    <dgm:pt modelId="{0C1CFA90-2BF0-4BC0-9FE6-D6B5B531350B}" type="sibTrans" cxnId="{673D0B1B-8843-4728-947B-A990209636F4}">
      <dgm:prSet/>
      <dgm:spPr/>
      <dgm:t>
        <a:bodyPr/>
        <a:lstStyle/>
        <a:p>
          <a:endParaRPr lang="en-US"/>
        </a:p>
      </dgm:t>
    </dgm:pt>
    <dgm:pt modelId="{AD91E9CA-E574-4F0D-888A-ECA6B521D722}">
      <dgm:prSet/>
      <dgm:spPr/>
      <dgm:t>
        <a:bodyPr/>
        <a:lstStyle/>
        <a:p>
          <a:r>
            <a:rPr lang="en-US" dirty="0"/>
            <a:t>Read activity during checkpoints, backups, and recovery</a:t>
          </a:r>
        </a:p>
      </dgm:t>
    </dgm:pt>
    <dgm:pt modelId="{8F9FBF36-F8E0-438E-A8F0-0F7A97CDB3EC}" type="parTrans" cxnId="{574DB480-B0E2-479D-9A03-7ED1408B08F5}">
      <dgm:prSet/>
      <dgm:spPr/>
      <dgm:t>
        <a:bodyPr/>
        <a:lstStyle/>
        <a:p>
          <a:endParaRPr lang="en-US"/>
        </a:p>
      </dgm:t>
    </dgm:pt>
    <dgm:pt modelId="{83754F5F-C1D6-47F3-B30A-7041A3BFF0DB}" type="sibTrans" cxnId="{574DB480-B0E2-479D-9A03-7ED1408B08F5}">
      <dgm:prSet/>
      <dgm:spPr/>
      <dgm:t>
        <a:bodyPr/>
        <a:lstStyle/>
        <a:p>
          <a:endParaRPr lang="en-US"/>
        </a:p>
      </dgm:t>
    </dgm:pt>
    <dgm:pt modelId="{5471454B-BFAC-43D1-B7F5-EFE2C3C6D9B0}">
      <dgm:prSet/>
      <dgm:spPr/>
      <dgm:t>
        <a:bodyPr/>
        <a:lstStyle/>
        <a:p>
          <a:r>
            <a:rPr lang="en-US" dirty="0"/>
            <a:t>Features such as database mirroring and replication will increase read and write activity</a:t>
          </a:r>
        </a:p>
      </dgm:t>
    </dgm:pt>
    <dgm:pt modelId="{D4456C17-51AE-4586-B555-E41D74E55463}" type="parTrans" cxnId="{B8384336-6D6C-4A7F-A4D6-70E1FC4CBCEC}">
      <dgm:prSet/>
      <dgm:spPr/>
      <dgm:t>
        <a:bodyPr/>
        <a:lstStyle/>
        <a:p>
          <a:endParaRPr lang="en-US"/>
        </a:p>
      </dgm:t>
    </dgm:pt>
    <dgm:pt modelId="{6E7DAC68-43A1-41C0-BEFA-E3C2CDCDE6E1}" type="sibTrans" cxnId="{B8384336-6D6C-4A7F-A4D6-70E1FC4CBCEC}">
      <dgm:prSet/>
      <dgm:spPr/>
      <dgm:t>
        <a:bodyPr/>
        <a:lstStyle/>
        <a:p>
          <a:endParaRPr lang="en-US"/>
        </a:p>
      </dgm:t>
    </dgm:pt>
    <dgm:pt modelId="{B46134EC-9658-41BF-86F8-AF2EA102C3BD}" type="pres">
      <dgm:prSet presAssocID="{67C3D060-4C6A-4541-BF2F-6E0231E13AEF}" presName="Name0" presStyleCnt="0">
        <dgm:presLayoutVars>
          <dgm:chMax val="7"/>
          <dgm:chPref val="7"/>
          <dgm:dir/>
        </dgm:presLayoutVars>
      </dgm:prSet>
      <dgm:spPr/>
    </dgm:pt>
    <dgm:pt modelId="{862F238E-7AAC-4A89-86EF-4FBA759C82BB}" type="pres">
      <dgm:prSet presAssocID="{67C3D060-4C6A-4541-BF2F-6E0231E13AEF}" presName="Name1" presStyleCnt="0"/>
      <dgm:spPr/>
    </dgm:pt>
    <dgm:pt modelId="{846385BC-17D7-41E8-B064-D420CAE22700}" type="pres">
      <dgm:prSet presAssocID="{67C3D060-4C6A-4541-BF2F-6E0231E13AEF}" presName="cycle" presStyleCnt="0"/>
      <dgm:spPr/>
    </dgm:pt>
    <dgm:pt modelId="{D47C51E9-149A-4288-A30A-9BC046473F0D}" type="pres">
      <dgm:prSet presAssocID="{67C3D060-4C6A-4541-BF2F-6E0231E13AEF}" presName="srcNode" presStyleLbl="node1" presStyleIdx="0" presStyleCnt="5"/>
      <dgm:spPr/>
    </dgm:pt>
    <dgm:pt modelId="{166B62B5-D21B-4577-8B59-54E4FBFB3336}" type="pres">
      <dgm:prSet presAssocID="{67C3D060-4C6A-4541-BF2F-6E0231E13AEF}" presName="conn" presStyleLbl="parChTrans1D2" presStyleIdx="0" presStyleCnt="1"/>
      <dgm:spPr/>
    </dgm:pt>
    <dgm:pt modelId="{FD0517FA-FE97-4495-9554-F14BCDF7A692}" type="pres">
      <dgm:prSet presAssocID="{67C3D060-4C6A-4541-BF2F-6E0231E13AEF}" presName="extraNode" presStyleLbl="node1" presStyleIdx="0" presStyleCnt="5"/>
      <dgm:spPr/>
    </dgm:pt>
    <dgm:pt modelId="{D5DBC6BF-61B5-4863-AAD5-89738792C303}" type="pres">
      <dgm:prSet presAssocID="{67C3D060-4C6A-4541-BF2F-6E0231E13AEF}" presName="dstNode" presStyleLbl="node1" presStyleIdx="0" presStyleCnt="5"/>
      <dgm:spPr/>
    </dgm:pt>
    <dgm:pt modelId="{7E59AC26-1B75-4199-BB4D-634808FCADB0}" type="pres">
      <dgm:prSet presAssocID="{14689F11-C203-4BE1-96C4-6C3E3107FC71}" presName="text_1" presStyleLbl="node1" presStyleIdx="0" presStyleCnt="5">
        <dgm:presLayoutVars>
          <dgm:bulletEnabled val="1"/>
        </dgm:presLayoutVars>
      </dgm:prSet>
      <dgm:spPr/>
    </dgm:pt>
    <dgm:pt modelId="{E4ED8FCF-8B28-4CA4-845A-8093B2D83238}" type="pres">
      <dgm:prSet presAssocID="{14689F11-C203-4BE1-96C4-6C3E3107FC71}" presName="accent_1" presStyleCnt="0"/>
      <dgm:spPr/>
    </dgm:pt>
    <dgm:pt modelId="{861DC932-751C-424A-875F-E4841DC99BA3}" type="pres">
      <dgm:prSet presAssocID="{14689F11-C203-4BE1-96C4-6C3E3107FC71}" presName="accentRepeatNode" presStyleLbl="solidFgAcc1" presStyleIdx="0" presStyleCnt="5"/>
      <dgm:spPr/>
    </dgm:pt>
    <dgm:pt modelId="{EB45A9AB-CA98-4D96-8E24-FDEA17711EF4}" type="pres">
      <dgm:prSet presAssocID="{143AAB39-CFBB-4016-83C5-231E444DA3EC}" presName="text_2" presStyleLbl="node1" presStyleIdx="1" presStyleCnt="5">
        <dgm:presLayoutVars>
          <dgm:bulletEnabled val="1"/>
        </dgm:presLayoutVars>
      </dgm:prSet>
      <dgm:spPr/>
    </dgm:pt>
    <dgm:pt modelId="{9AC5970D-8C1E-4674-8AB0-247F5FB7D6B7}" type="pres">
      <dgm:prSet presAssocID="{143AAB39-CFBB-4016-83C5-231E444DA3EC}" presName="accent_2" presStyleCnt="0"/>
      <dgm:spPr/>
    </dgm:pt>
    <dgm:pt modelId="{57DAF8D8-8318-4562-BBB2-9B9DA1499FFD}" type="pres">
      <dgm:prSet presAssocID="{143AAB39-CFBB-4016-83C5-231E444DA3EC}" presName="accentRepeatNode" presStyleLbl="solidFgAcc1" presStyleIdx="1" presStyleCnt="5"/>
      <dgm:spPr/>
    </dgm:pt>
    <dgm:pt modelId="{F704E7CE-CEA4-491B-BF18-7827E2BB1B97}" type="pres">
      <dgm:prSet presAssocID="{780059AB-DF52-40F8-808E-2E9416259547}" presName="text_3" presStyleLbl="node1" presStyleIdx="2" presStyleCnt="5">
        <dgm:presLayoutVars>
          <dgm:bulletEnabled val="1"/>
        </dgm:presLayoutVars>
      </dgm:prSet>
      <dgm:spPr/>
    </dgm:pt>
    <dgm:pt modelId="{6DD0BBA1-7C67-4CE1-B3F0-740E6ECC5EED}" type="pres">
      <dgm:prSet presAssocID="{780059AB-DF52-40F8-808E-2E9416259547}" presName="accent_3" presStyleCnt="0"/>
      <dgm:spPr/>
    </dgm:pt>
    <dgm:pt modelId="{8D2A7DFF-22BB-40E1-A924-137C6AC119F2}" type="pres">
      <dgm:prSet presAssocID="{780059AB-DF52-40F8-808E-2E9416259547}" presName="accentRepeatNode" presStyleLbl="solidFgAcc1" presStyleIdx="2" presStyleCnt="5"/>
      <dgm:spPr/>
    </dgm:pt>
    <dgm:pt modelId="{7972774F-A97B-425D-8CDF-1B57EC9EA72A}" type="pres">
      <dgm:prSet presAssocID="{AD91E9CA-E574-4F0D-888A-ECA6B521D722}" presName="text_4" presStyleLbl="node1" presStyleIdx="3" presStyleCnt="5">
        <dgm:presLayoutVars>
          <dgm:bulletEnabled val="1"/>
        </dgm:presLayoutVars>
      </dgm:prSet>
      <dgm:spPr/>
    </dgm:pt>
    <dgm:pt modelId="{3A7819FC-37E1-4088-9592-AFC689C86C22}" type="pres">
      <dgm:prSet presAssocID="{AD91E9CA-E574-4F0D-888A-ECA6B521D722}" presName="accent_4" presStyleCnt="0"/>
      <dgm:spPr/>
    </dgm:pt>
    <dgm:pt modelId="{51597AEA-5E7F-4B28-98B4-4CA4F42CB811}" type="pres">
      <dgm:prSet presAssocID="{AD91E9CA-E574-4F0D-888A-ECA6B521D722}" presName="accentRepeatNode" presStyleLbl="solidFgAcc1" presStyleIdx="3" presStyleCnt="5"/>
      <dgm:spPr/>
    </dgm:pt>
    <dgm:pt modelId="{D49EF4B7-CC55-43EA-AF5E-19D2E8D7A578}" type="pres">
      <dgm:prSet presAssocID="{5471454B-BFAC-43D1-B7F5-EFE2C3C6D9B0}" presName="text_5" presStyleLbl="node1" presStyleIdx="4" presStyleCnt="5">
        <dgm:presLayoutVars>
          <dgm:bulletEnabled val="1"/>
        </dgm:presLayoutVars>
      </dgm:prSet>
      <dgm:spPr/>
    </dgm:pt>
    <dgm:pt modelId="{7FC0CA22-8C3B-406F-AC57-BF0ED1C2C345}" type="pres">
      <dgm:prSet presAssocID="{5471454B-BFAC-43D1-B7F5-EFE2C3C6D9B0}" presName="accent_5" presStyleCnt="0"/>
      <dgm:spPr/>
    </dgm:pt>
    <dgm:pt modelId="{B4557B4E-2930-43D2-97CA-B1759C6FB054}" type="pres">
      <dgm:prSet presAssocID="{5471454B-BFAC-43D1-B7F5-EFE2C3C6D9B0}" presName="accentRepeatNode" presStyleLbl="solidFgAcc1" presStyleIdx="4" presStyleCnt="5"/>
      <dgm:spPr/>
    </dgm:pt>
  </dgm:ptLst>
  <dgm:cxnLst>
    <dgm:cxn modelId="{673D0B1B-8843-4728-947B-A990209636F4}" srcId="{67C3D060-4C6A-4541-BF2F-6E0231E13AEF}" destId="{780059AB-DF52-40F8-808E-2E9416259547}" srcOrd="2" destOrd="0" parTransId="{7DAE21FC-E0DB-49FC-BB51-632A8740205B}" sibTransId="{0C1CFA90-2BF0-4BC0-9FE6-D6B5B531350B}"/>
    <dgm:cxn modelId="{B8384336-6D6C-4A7F-A4D6-70E1FC4CBCEC}" srcId="{67C3D060-4C6A-4541-BF2F-6E0231E13AEF}" destId="{5471454B-BFAC-43D1-B7F5-EFE2C3C6D9B0}" srcOrd="4" destOrd="0" parTransId="{D4456C17-51AE-4586-B555-E41D74E55463}" sibTransId="{6E7DAC68-43A1-41C0-BEFA-E3C2CDCDE6E1}"/>
    <dgm:cxn modelId="{CDC87E36-A4AA-4314-B8ED-E9281BC145ED}" srcId="{67C3D060-4C6A-4541-BF2F-6E0231E13AEF}" destId="{143AAB39-CFBB-4016-83C5-231E444DA3EC}" srcOrd="1" destOrd="0" parTransId="{E638C5C4-90DB-4758-8B9D-79506308AEC9}" sibTransId="{FF4814A7-F598-46A7-AE46-3EA0F11BE055}"/>
    <dgm:cxn modelId="{952CAA3C-D885-4AAE-BD15-0778394561BB}" type="presOf" srcId="{67C3D060-4C6A-4541-BF2F-6E0231E13AEF}" destId="{B46134EC-9658-41BF-86F8-AF2EA102C3BD}" srcOrd="0" destOrd="0" presId="urn:microsoft.com/office/officeart/2008/layout/VerticalCurvedList"/>
    <dgm:cxn modelId="{7C58735B-3D8E-4E7A-A8DD-3E76C1B40C69}" type="presOf" srcId="{14689F11-C203-4BE1-96C4-6C3E3107FC71}" destId="{7E59AC26-1B75-4199-BB4D-634808FCADB0}" srcOrd="0" destOrd="0" presId="urn:microsoft.com/office/officeart/2008/layout/VerticalCurvedList"/>
    <dgm:cxn modelId="{C00EA175-D486-49F9-9B88-FF23B13F15D8}" type="presOf" srcId="{AD91E9CA-E574-4F0D-888A-ECA6B521D722}" destId="{7972774F-A97B-425D-8CDF-1B57EC9EA72A}" srcOrd="0" destOrd="0" presId="urn:microsoft.com/office/officeart/2008/layout/VerticalCurvedList"/>
    <dgm:cxn modelId="{FD01D657-D196-4644-80C8-E484EE5CC606}" srcId="{67C3D060-4C6A-4541-BF2F-6E0231E13AEF}" destId="{14689F11-C203-4BE1-96C4-6C3E3107FC71}" srcOrd="0" destOrd="0" parTransId="{92A494D4-D862-4D2A-A2E9-B8EA44A8F33A}" sibTransId="{07C15CCD-45A4-4AC7-B601-92C58B79E4E0}"/>
    <dgm:cxn modelId="{574DB480-B0E2-479D-9A03-7ED1408B08F5}" srcId="{67C3D060-4C6A-4541-BF2F-6E0231E13AEF}" destId="{AD91E9CA-E574-4F0D-888A-ECA6B521D722}" srcOrd="3" destOrd="0" parTransId="{8F9FBF36-F8E0-438E-A8F0-0F7A97CDB3EC}" sibTransId="{83754F5F-C1D6-47F3-B30A-7041A3BFF0DB}"/>
    <dgm:cxn modelId="{DFFE20B4-E911-4386-98AA-8D4759AA52D6}" type="presOf" srcId="{5471454B-BFAC-43D1-B7F5-EFE2C3C6D9B0}" destId="{D49EF4B7-CC55-43EA-AF5E-19D2E8D7A578}" srcOrd="0" destOrd="0" presId="urn:microsoft.com/office/officeart/2008/layout/VerticalCurvedList"/>
    <dgm:cxn modelId="{DDB8FBCA-E38B-461F-AD80-3D82582896D7}" type="presOf" srcId="{780059AB-DF52-40F8-808E-2E9416259547}" destId="{F704E7CE-CEA4-491B-BF18-7827E2BB1B97}" srcOrd="0" destOrd="0" presId="urn:microsoft.com/office/officeart/2008/layout/VerticalCurvedList"/>
    <dgm:cxn modelId="{C2D9BCD4-E7DE-4E2F-AD42-D5C9C705F477}" type="presOf" srcId="{07C15CCD-45A4-4AC7-B601-92C58B79E4E0}" destId="{166B62B5-D21B-4577-8B59-54E4FBFB3336}" srcOrd="0" destOrd="0" presId="urn:microsoft.com/office/officeart/2008/layout/VerticalCurvedList"/>
    <dgm:cxn modelId="{7D238FE5-8132-45A3-8C0B-A42B585E6481}" type="presOf" srcId="{143AAB39-CFBB-4016-83C5-231E444DA3EC}" destId="{EB45A9AB-CA98-4D96-8E24-FDEA17711EF4}" srcOrd="0" destOrd="0" presId="urn:microsoft.com/office/officeart/2008/layout/VerticalCurvedList"/>
    <dgm:cxn modelId="{5B8065A2-5604-4422-B8A7-D63889CCA0C8}" type="presParOf" srcId="{B46134EC-9658-41BF-86F8-AF2EA102C3BD}" destId="{862F238E-7AAC-4A89-86EF-4FBA759C82BB}" srcOrd="0" destOrd="0" presId="urn:microsoft.com/office/officeart/2008/layout/VerticalCurvedList"/>
    <dgm:cxn modelId="{37B72BAB-C3EE-49AF-8934-971E8D930861}" type="presParOf" srcId="{862F238E-7AAC-4A89-86EF-4FBA759C82BB}" destId="{846385BC-17D7-41E8-B064-D420CAE22700}" srcOrd="0" destOrd="0" presId="urn:microsoft.com/office/officeart/2008/layout/VerticalCurvedList"/>
    <dgm:cxn modelId="{07009ADF-8B68-410E-B93A-C1BF42CE190A}" type="presParOf" srcId="{846385BC-17D7-41E8-B064-D420CAE22700}" destId="{D47C51E9-149A-4288-A30A-9BC046473F0D}" srcOrd="0" destOrd="0" presId="urn:microsoft.com/office/officeart/2008/layout/VerticalCurvedList"/>
    <dgm:cxn modelId="{DC1AE8F6-46A4-48B4-BE53-DF521F97A553}" type="presParOf" srcId="{846385BC-17D7-41E8-B064-D420CAE22700}" destId="{166B62B5-D21B-4577-8B59-54E4FBFB3336}" srcOrd="1" destOrd="0" presId="urn:microsoft.com/office/officeart/2008/layout/VerticalCurvedList"/>
    <dgm:cxn modelId="{6C4B77D2-234E-453D-B7C6-74FC17FF18EE}" type="presParOf" srcId="{846385BC-17D7-41E8-B064-D420CAE22700}" destId="{FD0517FA-FE97-4495-9554-F14BCDF7A692}" srcOrd="2" destOrd="0" presId="urn:microsoft.com/office/officeart/2008/layout/VerticalCurvedList"/>
    <dgm:cxn modelId="{5A21BAF4-B3C8-4483-B159-DA15CC03BC97}" type="presParOf" srcId="{846385BC-17D7-41E8-B064-D420CAE22700}" destId="{D5DBC6BF-61B5-4863-AAD5-89738792C303}" srcOrd="3" destOrd="0" presId="urn:microsoft.com/office/officeart/2008/layout/VerticalCurvedList"/>
    <dgm:cxn modelId="{A6DC3DF6-A8F9-4A8D-8CA1-4EA6303A18EC}" type="presParOf" srcId="{862F238E-7AAC-4A89-86EF-4FBA759C82BB}" destId="{7E59AC26-1B75-4199-BB4D-634808FCADB0}" srcOrd="1" destOrd="0" presId="urn:microsoft.com/office/officeart/2008/layout/VerticalCurvedList"/>
    <dgm:cxn modelId="{F46C211A-C3F8-41E4-9016-5B689447F899}" type="presParOf" srcId="{862F238E-7AAC-4A89-86EF-4FBA759C82BB}" destId="{E4ED8FCF-8B28-4CA4-845A-8093B2D83238}" srcOrd="2" destOrd="0" presId="urn:microsoft.com/office/officeart/2008/layout/VerticalCurvedList"/>
    <dgm:cxn modelId="{298101F7-1C1F-4048-AC80-E0094868403F}" type="presParOf" srcId="{E4ED8FCF-8B28-4CA4-845A-8093B2D83238}" destId="{861DC932-751C-424A-875F-E4841DC99BA3}" srcOrd="0" destOrd="0" presId="urn:microsoft.com/office/officeart/2008/layout/VerticalCurvedList"/>
    <dgm:cxn modelId="{1E3FFE94-32EA-4229-9A20-3AF76DE68A73}" type="presParOf" srcId="{862F238E-7AAC-4A89-86EF-4FBA759C82BB}" destId="{EB45A9AB-CA98-4D96-8E24-FDEA17711EF4}" srcOrd="3" destOrd="0" presId="urn:microsoft.com/office/officeart/2008/layout/VerticalCurvedList"/>
    <dgm:cxn modelId="{73E0EF20-4688-4D8D-9571-95B46C5B7B1A}" type="presParOf" srcId="{862F238E-7AAC-4A89-86EF-4FBA759C82BB}" destId="{9AC5970D-8C1E-4674-8AB0-247F5FB7D6B7}" srcOrd="4" destOrd="0" presId="urn:microsoft.com/office/officeart/2008/layout/VerticalCurvedList"/>
    <dgm:cxn modelId="{224945F1-5D32-4442-8B69-BDA2089DB00D}" type="presParOf" srcId="{9AC5970D-8C1E-4674-8AB0-247F5FB7D6B7}" destId="{57DAF8D8-8318-4562-BBB2-9B9DA1499FFD}" srcOrd="0" destOrd="0" presId="urn:microsoft.com/office/officeart/2008/layout/VerticalCurvedList"/>
    <dgm:cxn modelId="{20E3C875-125D-45B1-8419-3FE4A1179775}" type="presParOf" srcId="{862F238E-7AAC-4A89-86EF-4FBA759C82BB}" destId="{F704E7CE-CEA4-491B-BF18-7827E2BB1B97}" srcOrd="5" destOrd="0" presId="urn:microsoft.com/office/officeart/2008/layout/VerticalCurvedList"/>
    <dgm:cxn modelId="{7F08C853-2236-48E6-96FF-7AC7D19CF182}" type="presParOf" srcId="{862F238E-7AAC-4A89-86EF-4FBA759C82BB}" destId="{6DD0BBA1-7C67-4CE1-B3F0-740E6ECC5EED}" srcOrd="6" destOrd="0" presId="urn:microsoft.com/office/officeart/2008/layout/VerticalCurvedList"/>
    <dgm:cxn modelId="{A421347D-43FB-4DE9-8AF3-CF98EA52CDF2}" type="presParOf" srcId="{6DD0BBA1-7C67-4CE1-B3F0-740E6ECC5EED}" destId="{8D2A7DFF-22BB-40E1-A924-137C6AC119F2}" srcOrd="0" destOrd="0" presId="urn:microsoft.com/office/officeart/2008/layout/VerticalCurvedList"/>
    <dgm:cxn modelId="{3D4D121E-8B98-42BA-8CD4-17E30ED180E4}" type="presParOf" srcId="{862F238E-7AAC-4A89-86EF-4FBA759C82BB}" destId="{7972774F-A97B-425D-8CDF-1B57EC9EA72A}" srcOrd="7" destOrd="0" presId="urn:microsoft.com/office/officeart/2008/layout/VerticalCurvedList"/>
    <dgm:cxn modelId="{E89F0163-75F2-4A08-9CF7-FECAE6F06BF2}" type="presParOf" srcId="{862F238E-7AAC-4A89-86EF-4FBA759C82BB}" destId="{3A7819FC-37E1-4088-9592-AFC689C86C22}" srcOrd="8" destOrd="0" presId="urn:microsoft.com/office/officeart/2008/layout/VerticalCurvedList"/>
    <dgm:cxn modelId="{A43A211C-24C8-46CA-AF3F-2DABF29E0119}" type="presParOf" srcId="{3A7819FC-37E1-4088-9592-AFC689C86C22}" destId="{51597AEA-5E7F-4B28-98B4-4CA4F42CB811}" srcOrd="0" destOrd="0" presId="urn:microsoft.com/office/officeart/2008/layout/VerticalCurvedList"/>
    <dgm:cxn modelId="{D6C18C13-6501-4C84-8E8C-58D817B41E3A}" type="presParOf" srcId="{862F238E-7AAC-4A89-86EF-4FBA759C82BB}" destId="{D49EF4B7-CC55-43EA-AF5E-19D2E8D7A578}" srcOrd="9" destOrd="0" presId="urn:microsoft.com/office/officeart/2008/layout/VerticalCurvedList"/>
    <dgm:cxn modelId="{F6552786-9CB0-42FE-87EA-E18FE8DD2F4C}" type="presParOf" srcId="{862F238E-7AAC-4A89-86EF-4FBA759C82BB}" destId="{7FC0CA22-8C3B-406F-AC57-BF0ED1C2C345}" srcOrd="10" destOrd="0" presId="urn:microsoft.com/office/officeart/2008/layout/VerticalCurvedList"/>
    <dgm:cxn modelId="{E30DE260-AC79-4404-BCCA-4323F21E4EA1}" type="presParOf" srcId="{7FC0CA22-8C3B-406F-AC57-BF0ED1C2C345}" destId="{B4557B4E-2930-43D2-97CA-B1759C6FB05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E3E5582-1E15-4441-B19A-F1CD05F69DD2}" type="doc">
      <dgm:prSet loTypeId="urn:microsoft.com/office/officeart/2005/8/layout/vList2" loCatId="list" qsTypeId="urn:microsoft.com/office/officeart/2005/8/quickstyle/simple1" qsCatId="simple" csTypeId="urn:microsoft.com/office/officeart/2005/8/colors/accent2_5" csCatId="accent2"/>
      <dgm:spPr/>
      <dgm:t>
        <a:bodyPr/>
        <a:lstStyle/>
        <a:p>
          <a:endParaRPr lang="en-US"/>
        </a:p>
      </dgm:t>
    </dgm:pt>
    <dgm:pt modelId="{8A318FC6-2E34-4D1E-A35C-42C78A99220B}">
      <dgm:prSet/>
      <dgm:spPr/>
      <dgm:t>
        <a:bodyPr/>
        <a:lstStyle/>
        <a:p>
          <a:r>
            <a:rPr lang="en-US" b="0" i="0" baseline="0" dirty="0"/>
            <a:t>sys.dm_db_page_info is currently supported only in SQL Server 2019 (15.x) and later. </a:t>
          </a:r>
          <a:endParaRPr lang="en-US" dirty="0"/>
        </a:p>
      </dgm:t>
    </dgm:pt>
    <dgm:pt modelId="{915503B1-82B2-4791-B652-A54F126FABDA}" type="parTrans" cxnId="{107B2D36-14CA-449D-BF36-36207137A232}">
      <dgm:prSet/>
      <dgm:spPr/>
      <dgm:t>
        <a:bodyPr/>
        <a:lstStyle/>
        <a:p>
          <a:endParaRPr lang="en-US"/>
        </a:p>
      </dgm:t>
    </dgm:pt>
    <dgm:pt modelId="{A61F3706-7CA1-4F62-9371-77C203A05F7C}" type="sibTrans" cxnId="{107B2D36-14CA-449D-BF36-36207137A232}">
      <dgm:prSet/>
      <dgm:spPr/>
      <dgm:t>
        <a:bodyPr/>
        <a:lstStyle/>
        <a:p>
          <a:endParaRPr lang="en-US"/>
        </a:p>
      </dgm:t>
    </dgm:pt>
    <dgm:pt modelId="{1DB334F2-C378-45B4-8C22-0871E8B94F52}" type="pres">
      <dgm:prSet presAssocID="{AE3E5582-1E15-4441-B19A-F1CD05F69DD2}" presName="linear" presStyleCnt="0">
        <dgm:presLayoutVars>
          <dgm:animLvl val="lvl"/>
          <dgm:resizeHandles val="exact"/>
        </dgm:presLayoutVars>
      </dgm:prSet>
      <dgm:spPr/>
    </dgm:pt>
    <dgm:pt modelId="{EA8236B5-C527-45FA-AF85-999307E9E726}" type="pres">
      <dgm:prSet presAssocID="{8A318FC6-2E34-4D1E-A35C-42C78A99220B}" presName="parentText" presStyleLbl="node1" presStyleIdx="0" presStyleCnt="1">
        <dgm:presLayoutVars>
          <dgm:chMax val="0"/>
          <dgm:bulletEnabled val="1"/>
        </dgm:presLayoutVars>
      </dgm:prSet>
      <dgm:spPr/>
    </dgm:pt>
  </dgm:ptLst>
  <dgm:cxnLst>
    <dgm:cxn modelId="{107B2D36-14CA-449D-BF36-36207137A232}" srcId="{AE3E5582-1E15-4441-B19A-F1CD05F69DD2}" destId="{8A318FC6-2E34-4D1E-A35C-42C78A99220B}" srcOrd="0" destOrd="0" parTransId="{915503B1-82B2-4791-B652-A54F126FABDA}" sibTransId="{A61F3706-7CA1-4F62-9371-77C203A05F7C}"/>
    <dgm:cxn modelId="{1857C56C-BFC2-45F6-8A52-DEC0CEAB6522}" type="presOf" srcId="{AE3E5582-1E15-4441-B19A-F1CD05F69DD2}" destId="{1DB334F2-C378-45B4-8C22-0871E8B94F52}" srcOrd="0" destOrd="0" presId="urn:microsoft.com/office/officeart/2005/8/layout/vList2"/>
    <dgm:cxn modelId="{53C812FE-0F53-43EB-81FA-1F38FD205B29}" type="presOf" srcId="{8A318FC6-2E34-4D1E-A35C-42C78A99220B}" destId="{EA8236B5-C527-45FA-AF85-999307E9E726}" srcOrd="0" destOrd="0" presId="urn:microsoft.com/office/officeart/2005/8/layout/vList2"/>
    <dgm:cxn modelId="{E0C19B8C-A3BB-4507-95BE-03F12BB83098}" type="presParOf" srcId="{1DB334F2-C378-45B4-8C22-0871E8B94F52}" destId="{EA8236B5-C527-45FA-AF85-999307E9E726}"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0195313D-0556-45D8-AA7C-8AAEEB1DCCF3}" type="doc">
      <dgm:prSet loTypeId="urn:microsoft.com/office/officeart/2005/8/layout/vList2" loCatId="list" qsTypeId="urn:microsoft.com/office/officeart/2005/8/quickstyle/simple1" qsCatId="simple" csTypeId="urn:microsoft.com/office/officeart/2005/8/colors/accent3_3" csCatId="accent3" phldr="1"/>
      <dgm:spPr/>
      <dgm:t>
        <a:bodyPr/>
        <a:lstStyle/>
        <a:p>
          <a:endParaRPr lang="en-US"/>
        </a:p>
      </dgm:t>
    </dgm:pt>
    <dgm:pt modelId="{84A8B878-5E54-4A04-987C-B186B37A6D18}" type="pres">
      <dgm:prSet presAssocID="{0195313D-0556-45D8-AA7C-8AAEEB1DCCF3}" presName="linear" presStyleCnt="0">
        <dgm:presLayoutVars>
          <dgm:animLvl val="lvl"/>
          <dgm:resizeHandles val="exact"/>
        </dgm:presLayoutVars>
      </dgm:prSet>
      <dgm:spPr/>
    </dgm:pt>
  </dgm:ptLst>
  <dgm:cxnLst>
    <dgm:cxn modelId="{F93E6E0A-48E3-4A3E-8442-DA114A88506D}" type="presOf" srcId="{0195313D-0556-45D8-AA7C-8AAEEB1DCCF3}" destId="{84A8B878-5E54-4A04-987C-B186B37A6D18}"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9A4C2F51-3B3E-47C7-A8E9-939CADF7C7A5}"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72E5AEF3-EB76-4DBD-9D9F-EA59B88382FA}">
      <dgm:prSet/>
      <dgm:spPr/>
      <dgm:t>
        <a:bodyPr/>
        <a:lstStyle/>
        <a:p>
          <a:r>
            <a:rPr lang="en-US" dirty="0"/>
            <a:t>Sequence of log records contained in one or more physical files</a:t>
          </a:r>
        </a:p>
      </dgm:t>
    </dgm:pt>
    <dgm:pt modelId="{24A382AC-CA56-41E3-AA6B-43F175C8C4E4}" type="parTrans" cxnId="{6140656E-9ED4-42CB-B4FE-88852BC3A382}">
      <dgm:prSet/>
      <dgm:spPr/>
      <dgm:t>
        <a:bodyPr/>
        <a:lstStyle/>
        <a:p>
          <a:endParaRPr lang="en-US"/>
        </a:p>
      </dgm:t>
    </dgm:pt>
    <dgm:pt modelId="{844B8A17-188B-46C8-A847-432ABA649977}" type="sibTrans" cxnId="{6140656E-9ED4-42CB-B4FE-88852BC3A382}">
      <dgm:prSet/>
      <dgm:spPr/>
      <dgm:t>
        <a:bodyPr/>
        <a:lstStyle/>
        <a:p>
          <a:endParaRPr lang="en-US"/>
        </a:p>
      </dgm:t>
    </dgm:pt>
    <dgm:pt modelId="{56599ECF-F277-4F80-8DC8-989D2384246E}">
      <dgm:prSet/>
      <dgm:spPr/>
      <dgm:t>
        <a:bodyPr/>
        <a:lstStyle/>
        <a:p>
          <a:r>
            <a:rPr lang="en-US" dirty="0"/>
            <a:t>Records identified by increasing Logical Sequence Numbers (LSNs)</a:t>
          </a:r>
        </a:p>
      </dgm:t>
    </dgm:pt>
    <dgm:pt modelId="{5006F55C-A6FC-4AE8-B360-A0E147408B63}" type="parTrans" cxnId="{32B032E7-1153-4614-A649-62AC1FAA49B7}">
      <dgm:prSet/>
      <dgm:spPr/>
      <dgm:t>
        <a:bodyPr/>
        <a:lstStyle/>
        <a:p>
          <a:endParaRPr lang="en-US"/>
        </a:p>
      </dgm:t>
    </dgm:pt>
    <dgm:pt modelId="{DC7C86C7-6455-405A-8A46-C1FF8FBB8CE4}" type="sibTrans" cxnId="{32B032E7-1153-4614-A649-62AC1FAA49B7}">
      <dgm:prSet/>
      <dgm:spPr/>
      <dgm:t>
        <a:bodyPr/>
        <a:lstStyle/>
        <a:p>
          <a:endParaRPr lang="en-US"/>
        </a:p>
      </dgm:t>
    </dgm:pt>
    <dgm:pt modelId="{F8FCF762-9C20-4417-93FC-A4EB5CA6E100}">
      <dgm:prSet/>
      <dgm:spPr/>
      <dgm:t>
        <a:bodyPr/>
        <a:lstStyle/>
        <a:p>
          <a:r>
            <a:rPr lang="en-US" dirty="0"/>
            <a:t>Recorded operations:</a:t>
          </a:r>
        </a:p>
      </dgm:t>
    </dgm:pt>
    <dgm:pt modelId="{ECBD64AB-4CE1-4F04-9B42-BEE8DFC26A3A}" type="parTrans" cxnId="{951FBD89-3051-45E1-89CE-4742B5FD923F}">
      <dgm:prSet/>
      <dgm:spPr/>
      <dgm:t>
        <a:bodyPr/>
        <a:lstStyle/>
        <a:p>
          <a:endParaRPr lang="en-US"/>
        </a:p>
      </dgm:t>
    </dgm:pt>
    <dgm:pt modelId="{ACA003DC-BDEE-4386-8964-DC6F2DFCB6CA}" type="sibTrans" cxnId="{951FBD89-3051-45E1-89CE-4742B5FD923F}">
      <dgm:prSet/>
      <dgm:spPr/>
      <dgm:t>
        <a:bodyPr/>
        <a:lstStyle/>
        <a:p>
          <a:endParaRPr lang="en-US"/>
        </a:p>
      </dgm:t>
    </dgm:pt>
    <dgm:pt modelId="{4353CEA6-FAA4-48D9-BCD0-00692E4E5B4B}">
      <dgm:prSet/>
      <dgm:spPr/>
      <dgm:t>
        <a:bodyPr/>
        <a:lstStyle/>
        <a:p>
          <a:r>
            <a:rPr lang="en-US" dirty="0"/>
            <a:t>Start and end of each transaction</a:t>
          </a:r>
        </a:p>
      </dgm:t>
    </dgm:pt>
    <dgm:pt modelId="{FB9034CA-B724-4ADB-9071-0ABE7EBFC6C6}" type="parTrans" cxnId="{BC701080-AC89-4B4A-B424-B17B64A6EF1F}">
      <dgm:prSet/>
      <dgm:spPr/>
      <dgm:t>
        <a:bodyPr/>
        <a:lstStyle/>
        <a:p>
          <a:endParaRPr lang="en-US"/>
        </a:p>
      </dgm:t>
    </dgm:pt>
    <dgm:pt modelId="{8859F724-E8D6-4D86-85C4-42F97D082E30}" type="sibTrans" cxnId="{BC701080-AC89-4B4A-B424-B17B64A6EF1F}">
      <dgm:prSet/>
      <dgm:spPr/>
      <dgm:t>
        <a:bodyPr/>
        <a:lstStyle/>
        <a:p>
          <a:endParaRPr lang="en-US"/>
        </a:p>
      </dgm:t>
    </dgm:pt>
    <dgm:pt modelId="{B9A3CA45-DADA-4ADA-872D-3B212A630E62}">
      <dgm:prSet/>
      <dgm:spPr/>
      <dgm:t>
        <a:bodyPr/>
        <a:lstStyle/>
        <a:p>
          <a:r>
            <a:rPr lang="en-US" dirty="0"/>
            <a:t>All database modifications</a:t>
          </a:r>
        </a:p>
      </dgm:t>
    </dgm:pt>
    <dgm:pt modelId="{F90C8573-ECE4-42EA-BDAA-9D89F667F600}" type="parTrans" cxnId="{BEC91496-C9F3-41F2-A9BF-770BF7E4A94F}">
      <dgm:prSet/>
      <dgm:spPr/>
      <dgm:t>
        <a:bodyPr/>
        <a:lstStyle/>
        <a:p>
          <a:endParaRPr lang="en-US"/>
        </a:p>
      </dgm:t>
    </dgm:pt>
    <dgm:pt modelId="{8455F99D-9561-4276-A254-7AC594A5C833}" type="sibTrans" cxnId="{BEC91496-C9F3-41F2-A9BF-770BF7E4A94F}">
      <dgm:prSet/>
      <dgm:spPr/>
      <dgm:t>
        <a:bodyPr/>
        <a:lstStyle/>
        <a:p>
          <a:endParaRPr lang="en-US"/>
        </a:p>
      </dgm:t>
    </dgm:pt>
    <dgm:pt modelId="{5EAC3381-8F82-4D87-AB56-580AB0511237}">
      <dgm:prSet/>
      <dgm:spPr/>
      <dgm:t>
        <a:bodyPr/>
        <a:lstStyle/>
        <a:p>
          <a:r>
            <a:rPr lang="en-US" dirty="0"/>
            <a:t>Extent and page allocation or deallocation</a:t>
          </a:r>
        </a:p>
      </dgm:t>
    </dgm:pt>
    <dgm:pt modelId="{0924CAB0-8E61-418B-A972-CE527861593A}" type="parTrans" cxnId="{17D95493-770C-46F1-9CB4-BFDE8A95D990}">
      <dgm:prSet/>
      <dgm:spPr/>
      <dgm:t>
        <a:bodyPr/>
        <a:lstStyle/>
        <a:p>
          <a:endParaRPr lang="en-US"/>
        </a:p>
      </dgm:t>
    </dgm:pt>
    <dgm:pt modelId="{A9A2EDBC-F9F9-44CC-AA62-61F3360B335C}" type="sibTrans" cxnId="{17D95493-770C-46F1-9CB4-BFDE8A95D990}">
      <dgm:prSet/>
      <dgm:spPr/>
      <dgm:t>
        <a:bodyPr/>
        <a:lstStyle/>
        <a:p>
          <a:endParaRPr lang="en-US"/>
        </a:p>
      </dgm:t>
    </dgm:pt>
    <dgm:pt modelId="{3AC927AE-853C-47A6-BD59-6DEC8DDFF034}">
      <dgm:prSet/>
      <dgm:spPr/>
      <dgm:t>
        <a:bodyPr/>
        <a:lstStyle/>
        <a:p>
          <a:r>
            <a:rPr lang="en-US" dirty="0"/>
            <a:t>Creating and dropping objects</a:t>
          </a:r>
        </a:p>
      </dgm:t>
    </dgm:pt>
    <dgm:pt modelId="{28592308-96D0-495E-B88E-63E28217B3D2}" type="parTrans" cxnId="{7C15C748-7716-42E7-AAD1-78763781043E}">
      <dgm:prSet/>
      <dgm:spPr/>
      <dgm:t>
        <a:bodyPr/>
        <a:lstStyle/>
        <a:p>
          <a:endParaRPr lang="en-US"/>
        </a:p>
      </dgm:t>
    </dgm:pt>
    <dgm:pt modelId="{83CCB4DF-5FBA-4EE5-AF10-D6EC0F672FF2}" type="sibTrans" cxnId="{7C15C748-7716-42E7-AAD1-78763781043E}">
      <dgm:prSet/>
      <dgm:spPr/>
      <dgm:t>
        <a:bodyPr/>
        <a:lstStyle/>
        <a:p>
          <a:endParaRPr lang="en-US"/>
        </a:p>
      </dgm:t>
    </dgm:pt>
    <dgm:pt modelId="{3DA225F7-E0C8-472E-914E-8E05AFC3B3F3}" type="pres">
      <dgm:prSet presAssocID="{9A4C2F51-3B3E-47C7-A8E9-939CADF7C7A5}" presName="linear" presStyleCnt="0">
        <dgm:presLayoutVars>
          <dgm:animLvl val="lvl"/>
          <dgm:resizeHandles val="exact"/>
        </dgm:presLayoutVars>
      </dgm:prSet>
      <dgm:spPr/>
    </dgm:pt>
    <dgm:pt modelId="{CE0EC126-B54C-4A39-B43E-00AAA6C88407}" type="pres">
      <dgm:prSet presAssocID="{72E5AEF3-EB76-4DBD-9D9F-EA59B88382FA}" presName="parentText" presStyleLbl="node1" presStyleIdx="0" presStyleCnt="3" custLinFactY="-1891" custLinFactNeighborY="-100000">
        <dgm:presLayoutVars>
          <dgm:chMax val="0"/>
          <dgm:bulletEnabled val="1"/>
        </dgm:presLayoutVars>
      </dgm:prSet>
      <dgm:spPr/>
    </dgm:pt>
    <dgm:pt modelId="{A8EF9125-A583-4EFF-B64A-D978C0BE18D7}" type="pres">
      <dgm:prSet presAssocID="{844B8A17-188B-46C8-A847-432ABA649977}" presName="spacer" presStyleCnt="0"/>
      <dgm:spPr/>
    </dgm:pt>
    <dgm:pt modelId="{4C9A9914-DD0A-4C91-B538-3977C68EC542}" type="pres">
      <dgm:prSet presAssocID="{56599ECF-F277-4F80-8DC8-989D2384246E}" presName="parentText" presStyleLbl="node1" presStyleIdx="1" presStyleCnt="3" custLinFactY="-1891" custLinFactNeighborY="-100000">
        <dgm:presLayoutVars>
          <dgm:chMax val="0"/>
          <dgm:bulletEnabled val="1"/>
        </dgm:presLayoutVars>
      </dgm:prSet>
      <dgm:spPr/>
    </dgm:pt>
    <dgm:pt modelId="{C488B894-1D0F-4DD7-9EB8-A7D85C5D4FDD}" type="pres">
      <dgm:prSet presAssocID="{DC7C86C7-6455-405A-8A46-C1FF8FBB8CE4}" presName="spacer" presStyleCnt="0"/>
      <dgm:spPr/>
    </dgm:pt>
    <dgm:pt modelId="{1F29812F-2C73-41C3-BCDF-E3337FCE8F80}" type="pres">
      <dgm:prSet presAssocID="{F8FCF762-9C20-4417-93FC-A4EB5CA6E100}" presName="parentText" presStyleLbl="node1" presStyleIdx="2" presStyleCnt="3" custLinFactNeighborY="-5710">
        <dgm:presLayoutVars>
          <dgm:chMax val="0"/>
          <dgm:bulletEnabled val="1"/>
        </dgm:presLayoutVars>
      </dgm:prSet>
      <dgm:spPr/>
    </dgm:pt>
    <dgm:pt modelId="{9FDA6E21-A9D4-4B38-BB1E-F3989DB31312}" type="pres">
      <dgm:prSet presAssocID="{F8FCF762-9C20-4417-93FC-A4EB5CA6E100}" presName="childText" presStyleLbl="revTx" presStyleIdx="0" presStyleCnt="1">
        <dgm:presLayoutVars>
          <dgm:bulletEnabled val="1"/>
        </dgm:presLayoutVars>
      </dgm:prSet>
      <dgm:spPr/>
    </dgm:pt>
  </dgm:ptLst>
  <dgm:cxnLst>
    <dgm:cxn modelId="{C8EB1F06-BD3C-4D1A-933A-733D4A87EB9E}" type="presOf" srcId="{B9A3CA45-DADA-4ADA-872D-3B212A630E62}" destId="{9FDA6E21-A9D4-4B38-BB1E-F3989DB31312}" srcOrd="0" destOrd="1" presId="urn:microsoft.com/office/officeart/2005/8/layout/vList2"/>
    <dgm:cxn modelId="{07B04407-2652-4037-A47E-690CB86407C7}" type="presOf" srcId="{9A4C2F51-3B3E-47C7-A8E9-939CADF7C7A5}" destId="{3DA225F7-E0C8-472E-914E-8E05AFC3B3F3}" srcOrd="0" destOrd="0" presId="urn:microsoft.com/office/officeart/2005/8/layout/vList2"/>
    <dgm:cxn modelId="{1664AC2B-4865-4E3B-9E6E-E2C2711C893F}" type="presOf" srcId="{3AC927AE-853C-47A6-BD59-6DEC8DDFF034}" destId="{9FDA6E21-A9D4-4B38-BB1E-F3989DB31312}" srcOrd="0" destOrd="3" presId="urn:microsoft.com/office/officeart/2005/8/layout/vList2"/>
    <dgm:cxn modelId="{8B87A12D-8D11-41AE-9C19-51F528C07CBF}" type="presOf" srcId="{4353CEA6-FAA4-48D9-BCD0-00692E4E5B4B}" destId="{9FDA6E21-A9D4-4B38-BB1E-F3989DB31312}" srcOrd="0" destOrd="0" presId="urn:microsoft.com/office/officeart/2005/8/layout/vList2"/>
    <dgm:cxn modelId="{7C15C748-7716-42E7-AAD1-78763781043E}" srcId="{F8FCF762-9C20-4417-93FC-A4EB5CA6E100}" destId="{3AC927AE-853C-47A6-BD59-6DEC8DDFF034}" srcOrd="3" destOrd="0" parTransId="{28592308-96D0-495E-B88E-63E28217B3D2}" sibTransId="{83CCB4DF-5FBA-4EE5-AF10-D6EC0F672FF2}"/>
    <dgm:cxn modelId="{2ED54F4D-49D7-4BDB-B645-2E2B814A616E}" type="presOf" srcId="{72E5AEF3-EB76-4DBD-9D9F-EA59B88382FA}" destId="{CE0EC126-B54C-4A39-B43E-00AAA6C88407}" srcOrd="0" destOrd="0" presId="urn:microsoft.com/office/officeart/2005/8/layout/vList2"/>
    <dgm:cxn modelId="{6140656E-9ED4-42CB-B4FE-88852BC3A382}" srcId="{9A4C2F51-3B3E-47C7-A8E9-939CADF7C7A5}" destId="{72E5AEF3-EB76-4DBD-9D9F-EA59B88382FA}" srcOrd="0" destOrd="0" parTransId="{24A382AC-CA56-41E3-AA6B-43F175C8C4E4}" sibTransId="{844B8A17-188B-46C8-A847-432ABA649977}"/>
    <dgm:cxn modelId="{BC701080-AC89-4B4A-B424-B17B64A6EF1F}" srcId="{F8FCF762-9C20-4417-93FC-A4EB5CA6E100}" destId="{4353CEA6-FAA4-48D9-BCD0-00692E4E5B4B}" srcOrd="0" destOrd="0" parTransId="{FB9034CA-B724-4ADB-9071-0ABE7EBFC6C6}" sibTransId="{8859F724-E8D6-4D86-85C4-42F97D082E30}"/>
    <dgm:cxn modelId="{951FBD89-3051-45E1-89CE-4742B5FD923F}" srcId="{9A4C2F51-3B3E-47C7-A8E9-939CADF7C7A5}" destId="{F8FCF762-9C20-4417-93FC-A4EB5CA6E100}" srcOrd="2" destOrd="0" parTransId="{ECBD64AB-4CE1-4F04-9B42-BEE8DFC26A3A}" sibTransId="{ACA003DC-BDEE-4386-8964-DC6F2DFCB6CA}"/>
    <dgm:cxn modelId="{17D95493-770C-46F1-9CB4-BFDE8A95D990}" srcId="{F8FCF762-9C20-4417-93FC-A4EB5CA6E100}" destId="{5EAC3381-8F82-4D87-AB56-580AB0511237}" srcOrd="2" destOrd="0" parTransId="{0924CAB0-8E61-418B-A972-CE527861593A}" sibTransId="{A9A2EDBC-F9F9-44CC-AA62-61F3360B335C}"/>
    <dgm:cxn modelId="{BEC91496-C9F3-41F2-A9BF-770BF7E4A94F}" srcId="{F8FCF762-9C20-4417-93FC-A4EB5CA6E100}" destId="{B9A3CA45-DADA-4ADA-872D-3B212A630E62}" srcOrd="1" destOrd="0" parTransId="{F90C8573-ECE4-42EA-BDAA-9D89F667F600}" sibTransId="{8455F99D-9561-4276-A254-7AC594A5C833}"/>
    <dgm:cxn modelId="{429D1CBC-01AD-41C3-9781-708D88251FF9}" type="presOf" srcId="{F8FCF762-9C20-4417-93FC-A4EB5CA6E100}" destId="{1F29812F-2C73-41C3-BCDF-E3337FCE8F80}" srcOrd="0" destOrd="0" presId="urn:microsoft.com/office/officeart/2005/8/layout/vList2"/>
    <dgm:cxn modelId="{8B014CDD-BB84-4B07-B24E-46E4EDF7561D}" type="presOf" srcId="{5EAC3381-8F82-4D87-AB56-580AB0511237}" destId="{9FDA6E21-A9D4-4B38-BB1E-F3989DB31312}" srcOrd="0" destOrd="2" presId="urn:microsoft.com/office/officeart/2005/8/layout/vList2"/>
    <dgm:cxn modelId="{340956E1-EA39-4726-9E3D-BBCC0439A995}" type="presOf" srcId="{56599ECF-F277-4F80-8DC8-989D2384246E}" destId="{4C9A9914-DD0A-4C91-B538-3977C68EC542}" srcOrd="0" destOrd="0" presId="urn:microsoft.com/office/officeart/2005/8/layout/vList2"/>
    <dgm:cxn modelId="{32B032E7-1153-4614-A649-62AC1FAA49B7}" srcId="{9A4C2F51-3B3E-47C7-A8E9-939CADF7C7A5}" destId="{56599ECF-F277-4F80-8DC8-989D2384246E}" srcOrd="1" destOrd="0" parTransId="{5006F55C-A6FC-4AE8-B360-A0E147408B63}" sibTransId="{DC7C86C7-6455-405A-8A46-C1FF8FBB8CE4}"/>
    <dgm:cxn modelId="{55285153-7D39-4359-860B-A92C9EB7C3B1}" type="presParOf" srcId="{3DA225F7-E0C8-472E-914E-8E05AFC3B3F3}" destId="{CE0EC126-B54C-4A39-B43E-00AAA6C88407}" srcOrd="0" destOrd="0" presId="urn:microsoft.com/office/officeart/2005/8/layout/vList2"/>
    <dgm:cxn modelId="{55EB70C3-92EA-412E-811A-AA0563BEA249}" type="presParOf" srcId="{3DA225F7-E0C8-472E-914E-8E05AFC3B3F3}" destId="{A8EF9125-A583-4EFF-B64A-D978C0BE18D7}" srcOrd="1" destOrd="0" presId="urn:microsoft.com/office/officeart/2005/8/layout/vList2"/>
    <dgm:cxn modelId="{D75DE577-E544-4704-8E85-C08532069044}" type="presParOf" srcId="{3DA225F7-E0C8-472E-914E-8E05AFC3B3F3}" destId="{4C9A9914-DD0A-4C91-B538-3977C68EC542}" srcOrd="2" destOrd="0" presId="urn:microsoft.com/office/officeart/2005/8/layout/vList2"/>
    <dgm:cxn modelId="{C1BE85B4-ABD0-41EC-B2B5-CD9038650947}" type="presParOf" srcId="{3DA225F7-E0C8-472E-914E-8E05AFC3B3F3}" destId="{C488B894-1D0F-4DD7-9EB8-A7D85C5D4FDD}" srcOrd="3" destOrd="0" presId="urn:microsoft.com/office/officeart/2005/8/layout/vList2"/>
    <dgm:cxn modelId="{A005A179-EF74-4CA6-98FA-6A53BF67AA46}" type="presParOf" srcId="{3DA225F7-E0C8-472E-914E-8E05AFC3B3F3}" destId="{1F29812F-2C73-41C3-BCDF-E3337FCE8F80}" srcOrd="4" destOrd="0" presId="urn:microsoft.com/office/officeart/2005/8/layout/vList2"/>
    <dgm:cxn modelId="{A787C3F1-5E3F-47AF-B80C-634AD09662B2}" type="presParOf" srcId="{3DA225F7-E0C8-472E-914E-8E05AFC3B3F3}" destId="{9FDA6E21-A9D4-4B38-BB1E-F3989DB31312}"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AFDCFADA-56B1-47CE-99CB-A641F56F2586}"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9A1837C6-E739-4CC6-9152-9E9E1A2DFBF2}">
      <dgm:prSet custT="1"/>
      <dgm:spPr/>
      <dgm:t>
        <a:bodyPr/>
        <a:lstStyle/>
        <a:p>
          <a:pPr algn="ctr"/>
          <a:r>
            <a:rPr lang="en-US" sz="2200" dirty="0">
              <a:latin typeface="Segoe UI" panose="020B0502040204020203" pitchFamily="34" charset="0"/>
            </a:rPr>
            <a:t>VLF count T-LOG file creation</a:t>
          </a:r>
        </a:p>
      </dgm:t>
    </dgm:pt>
    <dgm:pt modelId="{5B41EF2B-74E0-4F9A-9838-FBAB727A42D0}" type="parTrans" cxnId="{5669CE81-FE0F-4D16-9A29-5205DA886C85}">
      <dgm:prSet/>
      <dgm:spPr/>
      <dgm:t>
        <a:bodyPr/>
        <a:lstStyle/>
        <a:p>
          <a:endParaRPr lang="en-US" sz="1600"/>
        </a:p>
      </dgm:t>
    </dgm:pt>
    <dgm:pt modelId="{AB4F7500-3413-42D2-B299-D0257C2BDD07}" type="sibTrans" cxnId="{5669CE81-FE0F-4D16-9A29-5205DA886C85}">
      <dgm:prSet/>
      <dgm:spPr/>
      <dgm:t>
        <a:bodyPr/>
        <a:lstStyle/>
        <a:p>
          <a:endParaRPr lang="en-US" sz="1600"/>
        </a:p>
      </dgm:t>
    </dgm:pt>
    <dgm:pt modelId="{365F8973-5127-40AB-9386-68F01623AE8C}">
      <dgm:prSet custT="1"/>
      <dgm:spPr/>
      <dgm:t>
        <a:bodyPr/>
        <a:lstStyle/>
        <a:p>
          <a:pPr algn="l">
            <a:buNone/>
          </a:pPr>
          <a:r>
            <a:rPr lang="en-US" sz="2200" baseline="0" dirty="0"/>
            <a:t>Size &lt;= 64 MB  </a:t>
          </a:r>
          <a:r>
            <a:rPr lang="en-US" sz="2200" baseline="0" dirty="0">
              <a:sym typeface="Wingdings" panose="05000000000000000000" pitchFamily="2" charset="2"/>
            </a:rPr>
            <a:t></a:t>
          </a:r>
          <a:r>
            <a:rPr lang="en-US" sz="2200" baseline="0" dirty="0"/>
            <a:t> 4 VLFs</a:t>
          </a:r>
          <a:endParaRPr lang="en-US" sz="2200" dirty="0"/>
        </a:p>
      </dgm:t>
    </dgm:pt>
    <dgm:pt modelId="{9B5D059B-30E5-42DA-B710-7CBDFF8BDEBC}" type="parTrans" cxnId="{9BB24839-DAAD-4A09-9948-C242485B7BF7}">
      <dgm:prSet/>
      <dgm:spPr/>
      <dgm:t>
        <a:bodyPr/>
        <a:lstStyle/>
        <a:p>
          <a:endParaRPr lang="en-US" sz="1600"/>
        </a:p>
      </dgm:t>
    </dgm:pt>
    <dgm:pt modelId="{F34A3055-5065-499F-BAF3-4AC7BA904E38}" type="sibTrans" cxnId="{9BB24839-DAAD-4A09-9948-C242485B7BF7}">
      <dgm:prSet/>
      <dgm:spPr/>
      <dgm:t>
        <a:bodyPr/>
        <a:lstStyle/>
        <a:p>
          <a:endParaRPr lang="en-US" sz="1600"/>
        </a:p>
      </dgm:t>
    </dgm:pt>
    <dgm:pt modelId="{E230F36B-B0C6-4F21-ACF9-381F97FAE93C}">
      <dgm:prSet custT="1"/>
      <dgm:spPr/>
      <dgm:t>
        <a:bodyPr/>
        <a:lstStyle/>
        <a:p>
          <a:pPr algn="ctr"/>
          <a:r>
            <a:rPr lang="en-US" sz="2200" baseline="0" dirty="0">
              <a:latin typeface="Segoe UI" panose="020B0502040204020203" pitchFamily="34" charset="0"/>
            </a:rPr>
            <a:t>VLF count at T-LOG file growth</a:t>
          </a:r>
          <a:endParaRPr lang="en-US" sz="2200" dirty="0">
            <a:latin typeface="Segoe UI" panose="020B0502040204020203" pitchFamily="34" charset="0"/>
          </a:endParaRPr>
        </a:p>
      </dgm:t>
    </dgm:pt>
    <dgm:pt modelId="{05A69560-E041-454F-99F0-FD3F2381C616}" type="parTrans" cxnId="{3916EA62-A8AD-4D8E-B6C1-7EC0BB6BAEE2}">
      <dgm:prSet/>
      <dgm:spPr/>
      <dgm:t>
        <a:bodyPr/>
        <a:lstStyle/>
        <a:p>
          <a:endParaRPr lang="en-US" sz="1600"/>
        </a:p>
      </dgm:t>
    </dgm:pt>
    <dgm:pt modelId="{CCEE8136-34FB-4FFD-A7C4-772C2605563B}" type="sibTrans" cxnId="{3916EA62-A8AD-4D8E-B6C1-7EC0BB6BAEE2}">
      <dgm:prSet/>
      <dgm:spPr/>
      <dgm:t>
        <a:bodyPr/>
        <a:lstStyle/>
        <a:p>
          <a:endParaRPr lang="en-US" sz="1600"/>
        </a:p>
      </dgm:t>
    </dgm:pt>
    <dgm:pt modelId="{17AF1611-A70F-43BF-8330-948C5EDD0E9E}">
      <dgm:prSet custT="1"/>
      <dgm:spPr/>
      <dgm:t>
        <a:bodyPr/>
        <a:lstStyle/>
        <a:p>
          <a:pPr>
            <a:buNone/>
          </a:pPr>
          <a:r>
            <a:rPr lang="en-US" sz="2400" baseline="0" dirty="0"/>
            <a:t>Growth &lt;= 64 MB </a:t>
          </a:r>
          <a:r>
            <a:rPr lang="en-US" sz="2400" baseline="0" dirty="0">
              <a:sym typeface="Wingdings" panose="05000000000000000000" pitchFamily="2" charset="2"/>
            </a:rPr>
            <a:t></a:t>
          </a:r>
          <a:r>
            <a:rPr lang="en-US" sz="2400" baseline="0" dirty="0"/>
            <a:t> 4 VLFs</a:t>
          </a:r>
          <a:endParaRPr lang="en-US" sz="2400" dirty="0"/>
        </a:p>
      </dgm:t>
    </dgm:pt>
    <dgm:pt modelId="{90238272-13B1-4D04-9EFB-C76CA0072FCB}" type="parTrans" cxnId="{6D824C2E-F594-4553-B390-EA332E5A9083}">
      <dgm:prSet/>
      <dgm:spPr/>
      <dgm:t>
        <a:bodyPr/>
        <a:lstStyle/>
        <a:p>
          <a:endParaRPr lang="en-US" sz="1600"/>
        </a:p>
      </dgm:t>
    </dgm:pt>
    <dgm:pt modelId="{60EFFDFE-8AF4-4DD3-BCC5-8551B49B83C6}" type="sibTrans" cxnId="{6D824C2E-F594-4553-B390-EA332E5A9083}">
      <dgm:prSet/>
      <dgm:spPr/>
      <dgm:t>
        <a:bodyPr/>
        <a:lstStyle/>
        <a:p>
          <a:endParaRPr lang="en-US" sz="1600"/>
        </a:p>
      </dgm:t>
    </dgm:pt>
    <dgm:pt modelId="{ED21E3C4-84B3-4493-A737-DE2FB038382D}">
      <dgm:prSet custT="1"/>
      <dgm:spPr/>
      <dgm:t>
        <a:bodyPr/>
        <a:lstStyle/>
        <a:p>
          <a:pPr algn="l">
            <a:buNone/>
          </a:pPr>
          <a:r>
            <a:rPr lang="en-US" sz="2200" baseline="0" dirty="0"/>
            <a:t>Between 64 MB and 1 GB </a:t>
          </a:r>
          <a:r>
            <a:rPr lang="en-US" sz="2200" baseline="0" dirty="0">
              <a:sym typeface="Wingdings" panose="05000000000000000000" pitchFamily="2" charset="2"/>
            </a:rPr>
            <a:t></a:t>
          </a:r>
          <a:r>
            <a:rPr lang="en-US" sz="2200" baseline="0" dirty="0"/>
            <a:t> 8 VLFs</a:t>
          </a:r>
          <a:endParaRPr lang="en-US" sz="2200" dirty="0"/>
        </a:p>
      </dgm:t>
    </dgm:pt>
    <dgm:pt modelId="{5DCE8501-0137-47A5-9EC1-5563ED47FB18}" type="parTrans" cxnId="{F6E49619-6227-47AC-8265-6BD4BFAD1365}">
      <dgm:prSet/>
      <dgm:spPr/>
      <dgm:t>
        <a:bodyPr/>
        <a:lstStyle/>
        <a:p>
          <a:endParaRPr lang="en-US"/>
        </a:p>
      </dgm:t>
    </dgm:pt>
    <dgm:pt modelId="{A8D64732-012D-4608-B2C7-0B613AC6313B}" type="sibTrans" cxnId="{F6E49619-6227-47AC-8265-6BD4BFAD1365}">
      <dgm:prSet/>
      <dgm:spPr/>
      <dgm:t>
        <a:bodyPr/>
        <a:lstStyle/>
        <a:p>
          <a:endParaRPr lang="en-US"/>
        </a:p>
      </dgm:t>
    </dgm:pt>
    <dgm:pt modelId="{049F28B7-C0D0-4FAF-96EF-5B4717CF9FF1}">
      <dgm:prSet custT="1"/>
      <dgm:spPr/>
      <dgm:t>
        <a:bodyPr/>
        <a:lstStyle/>
        <a:p>
          <a:pPr algn="l">
            <a:buNone/>
          </a:pPr>
          <a:r>
            <a:rPr lang="en-US" sz="2200" baseline="0" dirty="0"/>
            <a:t>Size &gt; 1GB </a:t>
          </a:r>
          <a:r>
            <a:rPr lang="en-US" sz="2200" baseline="0" dirty="0">
              <a:sym typeface="Wingdings" panose="05000000000000000000" pitchFamily="2" charset="2"/>
            </a:rPr>
            <a:t></a:t>
          </a:r>
          <a:r>
            <a:rPr lang="en-US" sz="2200" baseline="0" dirty="0"/>
            <a:t>16 VLFs</a:t>
          </a:r>
          <a:endParaRPr lang="en-US" sz="2200" dirty="0"/>
        </a:p>
      </dgm:t>
    </dgm:pt>
    <dgm:pt modelId="{86479D3C-A4E7-422A-8A33-C21CD0253F24}" type="parTrans" cxnId="{89E119B5-B91E-41F8-B558-153A61BCDB68}">
      <dgm:prSet/>
      <dgm:spPr/>
      <dgm:t>
        <a:bodyPr/>
        <a:lstStyle/>
        <a:p>
          <a:endParaRPr lang="en-US"/>
        </a:p>
      </dgm:t>
    </dgm:pt>
    <dgm:pt modelId="{6BE4F847-9F6F-41FD-883B-9F02D4EDF281}" type="sibTrans" cxnId="{89E119B5-B91E-41F8-B558-153A61BCDB68}">
      <dgm:prSet/>
      <dgm:spPr/>
      <dgm:t>
        <a:bodyPr/>
        <a:lstStyle/>
        <a:p>
          <a:endParaRPr lang="en-US"/>
        </a:p>
      </dgm:t>
    </dgm:pt>
    <dgm:pt modelId="{32DADCDB-1F04-436B-BF52-21C5D21A5DE8}">
      <dgm:prSet custT="1"/>
      <dgm:spPr/>
      <dgm:t>
        <a:bodyPr/>
        <a:lstStyle/>
        <a:p>
          <a:pPr>
            <a:buNone/>
          </a:pPr>
          <a:r>
            <a:rPr lang="en-US" sz="2400" baseline="0" dirty="0"/>
            <a:t>Between 64 MB and 1GB </a:t>
          </a:r>
          <a:r>
            <a:rPr lang="en-US" sz="2400" baseline="0" dirty="0">
              <a:sym typeface="Wingdings" panose="05000000000000000000" pitchFamily="2" charset="2"/>
            </a:rPr>
            <a:t></a:t>
          </a:r>
          <a:r>
            <a:rPr lang="en-US" sz="2400" baseline="0" dirty="0"/>
            <a:t> 8 VLFs</a:t>
          </a:r>
          <a:endParaRPr lang="en-US" sz="2400" dirty="0"/>
        </a:p>
      </dgm:t>
    </dgm:pt>
    <dgm:pt modelId="{8C978904-F3C4-4219-9634-300F59795C1D}" type="parTrans" cxnId="{6635DA19-CDD2-4B90-AA1F-80F4C910E836}">
      <dgm:prSet/>
      <dgm:spPr/>
      <dgm:t>
        <a:bodyPr/>
        <a:lstStyle/>
        <a:p>
          <a:endParaRPr lang="en-US"/>
        </a:p>
      </dgm:t>
    </dgm:pt>
    <dgm:pt modelId="{444FCC2D-2F38-4642-BD58-818664D78DBD}" type="sibTrans" cxnId="{6635DA19-CDD2-4B90-AA1F-80F4C910E836}">
      <dgm:prSet/>
      <dgm:spPr/>
      <dgm:t>
        <a:bodyPr/>
        <a:lstStyle/>
        <a:p>
          <a:endParaRPr lang="en-US"/>
        </a:p>
      </dgm:t>
    </dgm:pt>
    <dgm:pt modelId="{88C1F049-F4A7-484F-A909-9D56E74A004B}">
      <dgm:prSet custT="1"/>
      <dgm:spPr/>
      <dgm:t>
        <a:bodyPr/>
        <a:lstStyle/>
        <a:p>
          <a:pPr>
            <a:buNone/>
          </a:pPr>
          <a:r>
            <a:rPr lang="en-US" sz="2400" baseline="0" dirty="0"/>
            <a:t>Growth &gt; 1GB  </a:t>
          </a:r>
          <a:r>
            <a:rPr lang="en-US" sz="2400" baseline="0" dirty="0">
              <a:sym typeface="Wingdings" panose="05000000000000000000" pitchFamily="2" charset="2"/>
            </a:rPr>
            <a:t></a:t>
          </a:r>
          <a:r>
            <a:rPr lang="en-US" sz="2400" baseline="0" dirty="0"/>
            <a:t> 16 VLFs</a:t>
          </a:r>
          <a:endParaRPr lang="en-US" sz="2400" dirty="0"/>
        </a:p>
      </dgm:t>
    </dgm:pt>
    <dgm:pt modelId="{F623A4A1-200B-46C2-B698-4B2AA4575150}" type="parTrans" cxnId="{EA9DEF44-A1BA-4DFA-AFA3-DCCDC1100A2C}">
      <dgm:prSet/>
      <dgm:spPr/>
      <dgm:t>
        <a:bodyPr/>
        <a:lstStyle/>
        <a:p>
          <a:endParaRPr lang="en-US"/>
        </a:p>
      </dgm:t>
    </dgm:pt>
    <dgm:pt modelId="{01A241E3-A73F-4F06-9E03-38D4FDC2A080}" type="sibTrans" cxnId="{EA9DEF44-A1BA-4DFA-AFA3-DCCDC1100A2C}">
      <dgm:prSet/>
      <dgm:spPr/>
      <dgm:t>
        <a:bodyPr/>
        <a:lstStyle/>
        <a:p>
          <a:endParaRPr lang="en-US"/>
        </a:p>
      </dgm:t>
    </dgm:pt>
    <dgm:pt modelId="{A4BB8169-A4B6-424C-A014-029AFF6D3E1C}">
      <dgm:prSet custT="1"/>
      <dgm:spPr/>
      <dgm:t>
        <a:bodyPr/>
        <a:lstStyle/>
        <a:p>
          <a:pPr>
            <a:buNone/>
          </a:pPr>
          <a:r>
            <a:rPr lang="en-US" sz="2400" baseline="0" dirty="0"/>
            <a:t>If growth is less than 1/8th of current size </a:t>
          </a:r>
          <a:r>
            <a:rPr lang="en-US" sz="2400" baseline="0" dirty="0">
              <a:sym typeface="Wingdings" panose="05000000000000000000" pitchFamily="2" charset="2"/>
            </a:rPr>
            <a:t></a:t>
          </a:r>
          <a:r>
            <a:rPr lang="en-US" sz="2400" baseline="0" dirty="0"/>
            <a:t> add 1 VLF</a:t>
          </a:r>
          <a:endParaRPr lang="en-US" sz="2400" dirty="0"/>
        </a:p>
      </dgm:t>
    </dgm:pt>
    <dgm:pt modelId="{0CA8DDA5-B5C5-4E29-877C-EB7282487E7F}" type="parTrans" cxnId="{633167B5-C7E3-4BE9-8ED7-A13F394B34A6}">
      <dgm:prSet/>
      <dgm:spPr/>
      <dgm:t>
        <a:bodyPr/>
        <a:lstStyle/>
        <a:p>
          <a:endParaRPr lang="en-US"/>
        </a:p>
      </dgm:t>
    </dgm:pt>
    <dgm:pt modelId="{FD05F4DD-6C98-4219-800A-C94A73C8DBDF}" type="sibTrans" cxnId="{633167B5-C7E3-4BE9-8ED7-A13F394B34A6}">
      <dgm:prSet/>
      <dgm:spPr/>
      <dgm:t>
        <a:bodyPr/>
        <a:lstStyle/>
        <a:p>
          <a:endParaRPr lang="en-US"/>
        </a:p>
      </dgm:t>
    </dgm:pt>
    <dgm:pt modelId="{E375CFF9-1979-47BB-B761-6513F7C6D210}">
      <dgm:prSet custT="1"/>
      <dgm:spPr/>
      <dgm:t>
        <a:bodyPr/>
        <a:lstStyle/>
        <a:p>
          <a:pPr>
            <a:buNone/>
          </a:pPr>
          <a:endParaRPr lang="en-US" sz="2400" dirty="0"/>
        </a:p>
      </dgm:t>
    </dgm:pt>
    <dgm:pt modelId="{45E8EA2C-31DE-4D36-A60A-3679B00E3754}" type="parTrans" cxnId="{B65381EE-764D-434E-BFAF-C6CCB28AD376}">
      <dgm:prSet/>
      <dgm:spPr/>
      <dgm:t>
        <a:bodyPr/>
        <a:lstStyle/>
        <a:p>
          <a:endParaRPr lang="en-US"/>
        </a:p>
      </dgm:t>
    </dgm:pt>
    <dgm:pt modelId="{6FE0B01F-9E9D-4729-B45D-5D80C219EE07}" type="sibTrans" cxnId="{B65381EE-764D-434E-BFAF-C6CCB28AD376}">
      <dgm:prSet/>
      <dgm:spPr/>
      <dgm:t>
        <a:bodyPr/>
        <a:lstStyle/>
        <a:p>
          <a:endParaRPr lang="en-US"/>
        </a:p>
      </dgm:t>
    </dgm:pt>
    <dgm:pt modelId="{F122E3F4-6664-4F52-B1F5-0B19A6034406}">
      <dgm:prSet custT="1"/>
      <dgm:spPr/>
      <dgm:t>
        <a:bodyPr/>
        <a:lstStyle/>
        <a:p>
          <a:pPr>
            <a:buNone/>
          </a:pPr>
          <a:r>
            <a:rPr lang="en-US" sz="2400" baseline="0" dirty="0"/>
            <a:t>(SQL 2014 and higher)</a:t>
          </a:r>
          <a:endParaRPr lang="en-US" sz="2400" dirty="0"/>
        </a:p>
      </dgm:t>
    </dgm:pt>
    <dgm:pt modelId="{8FD3A94D-78CF-4F7D-A0BF-D13CB8C72FDA}" type="parTrans" cxnId="{1C80A8C3-5BA2-4C32-B26B-A6D3C37890E8}">
      <dgm:prSet/>
      <dgm:spPr/>
      <dgm:t>
        <a:bodyPr/>
        <a:lstStyle/>
        <a:p>
          <a:endParaRPr lang="en-US"/>
        </a:p>
      </dgm:t>
    </dgm:pt>
    <dgm:pt modelId="{1DC94117-8032-425B-B522-0601192BCEE7}" type="sibTrans" cxnId="{1C80A8C3-5BA2-4C32-B26B-A6D3C37890E8}">
      <dgm:prSet/>
      <dgm:spPr/>
      <dgm:t>
        <a:bodyPr/>
        <a:lstStyle/>
        <a:p>
          <a:endParaRPr lang="en-US"/>
        </a:p>
      </dgm:t>
    </dgm:pt>
    <dgm:pt modelId="{820C2D47-BCB3-4805-B3BD-BF9270C6F8EB}" type="pres">
      <dgm:prSet presAssocID="{AFDCFADA-56B1-47CE-99CB-A641F56F2586}" presName="Name0" presStyleCnt="0">
        <dgm:presLayoutVars>
          <dgm:dir/>
          <dgm:animLvl val="lvl"/>
          <dgm:resizeHandles val="exact"/>
        </dgm:presLayoutVars>
      </dgm:prSet>
      <dgm:spPr/>
    </dgm:pt>
    <dgm:pt modelId="{8B3EB5EE-A97F-45D5-AA20-B36E78805055}" type="pres">
      <dgm:prSet presAssocID="{9A1837C6-E739-4CC6-9152-9E9E1A2DFBF2}" presName="composite" presStyleCnt="0"/>
      <dgm:spPr/>
    </dgm:pt>
    <dgm:pt modelId="{9E857E30-CB40-4959-93BD-2B947737A584}" type="pres">
      <dgm:prSet presAssocID="{9A1837C6-E739-4CC6-9152-9E9E1A2DFBF2}" presName="parTx" presStyleLbl="alignNode1" presStyleIdx="0" presStyleCnt="2">
        <dgm:presLayoutVars>
          <dgm:chMax val="0"/>
          <dgm:chPref val="0"/>
          <dgm:bulletEnabled val="1"/>
        </dgm:presLayoutVars>
      </dgm:prSet>
      <dgm:spPr/>
    </dgm:pt>
    <dgm:pt modelId="{F818A7ED-A6B5-4A92-BE5F-15C48862F954}" type="pres">
      <dgm:prSet presAssocID="{9A1837C6-E739-4CC6-9152-9E9E1A2DFBF2}" presName="desTx" presStyleLbl="alignAccFollowNode1" presStyleIdx="0" presStyleCnt="2">
        <dgm:presLayoutVars>
          <dgm:bulletEnabled val="1"/>
        </dgm:presLayoutVars>
      </dgm:prSet>
      <dgm:spPr/>
    </dgm:pt>
    <dgm:pt modelId="{75B3A935-EC79-47BD-9FF3-341066892BFE}" type="pres">
      <dgm:prSet presAssocID="{AB4F7500-3413-42D2-B299-D0257C2BDD07}" presName="space" presStyleCnt="0"/>
      <dgm:spPr/>
    </dgm:pt>
    <dgm:pt modelId="{0F74DFC5-B17A-40E2-AC4A-D1B45CEE8348}" type="pres">
      <dgm:prSet presAssocID="{E230F36B-B0C6-4F21-ACF9-381F97FAE93C}" presName="composite" presStyleCnt="0"/>
      <dgm:spPr/>
    </dgm:pt>
    <dgm:pt modelId="{19250715-646C-42CC-A1A1-F71D9840618E}" type="pres">
      <dgm:prSet presAssocID="{E230F36B-B0C6-4F21-ACF9-381F97FAE93C}" presName="parTx" presStyleLbl="alignNode1" presStyleIdx="1" presStyleCnt="2">
        <dgm:presLayoutVars>
          <dgm:chMax val="0"/>
          <dgm:chPref val="0"/>
          <dgm:bulletEnabled val="1"/>
        </dgm:presLayoutVars>
      </dgm:prSet>
      <dgm:spPr/>
    </dgm:pt>
    <dgm:pt modelId="{99FF60BD-F326-4F24-B5CD-57346148E5AE}" type="pres">
      <dgm:prSet presAssocID="{E230F36B-B0C6-4F21-ACF9-381F97FAE93C}" presName="desTx" presStyleLbl="alignAccFollowNode1" presStyleIdx="1" presStyleCnt="2">
        <dgm:presLayoutVars>
          <dgm:bulletEnabled val="1"/>
        </dgm:presLayoutVars>
      </dgm:prSet>
      <dgm:spPr/>
    </dgm:pt>
  </dgm:ptLst>
  <dgm:cxnLst>
    <dgm:cxn modelId="{3A70DB0E-C2AC-48D5-A80B-E4D4EB68DF5B}" type="presOf" srcId="{ED21E3C4-84B3-4493-A737-DE2FB038382D}" destId="{F818A7ED-A6B5-4A92-BE5F-15C48862F954}" srcOrd="0" destOrd="1" presId="urn:microsoft.com/office/officeart/2005/8/layout/hList1"/>
    <dgm:cxn modelId="{15001D15-A2BF-441A-BBA3-FB280CAD58C0}" type="presOf" srcId="{88C1F049-F4A7-484F-A909-9D56E74A004B}" destId="{99FF60BD-F326-4F24-B5CD-57346148E5AE}" srcOrd="0" destOrd="2" presId="urn:microsoft.com/office/officeart/2005/8/layout/hList1"/>
    <dgm:cxn modelId="{F6E49619-6227-47AC-8265-6BD4BFAD1365}" srcId="{9A1837C6-E739-4CC6-9152-9E9E1A2DFBF2}" destId="{ED21E3C4-84B3-4493-A737-DE2FB038382D}" srcOrd="1" destOrd="0" parTransId="{5DCE8501-0137-47A5-9EC1-5563ED47FB18}" sibTransId="{A8D64732-012D-4608-B2C7-0B613AC6313B}"/>
    <dgm:cxn modelId="{6635DA19-CDD2-4B90-AA1F-80F4C910E836}" srcId="{E230F36B-B0C6-4F21-ACF9-381F97FAE93C}" destId="{32DADCDB-1F04-436B-BF52-21C5D21A5DE8}" srcOrd="1" destOrd="0" parTransId="{8C978904-F3C4-4219-9634-300F59795C1D}" sibTransId="{444FCC2D-2F38-4642-BD58-818664D78DBD}"/>
    <dgm:cxn modelId="{4BC42620-D04A-4D6B-83DD-23EB09D2BE59}" type="presOf" srcId="{A4BB8169-A4B6-424C-A014-029AFF6D3E1C}" destId="{99FF60BD-F326-4F24-B5CD-57346148E5AE}" srcOrd="0" destOrd="5" presId="urn:microsoft.com/office/officeart/2005/8/layout/hList1"/>
    <dgm:cxn modelId="{D43CD92A-89D8-4CBD-A3E3-AE52348E3782}" type="presOf" srcId="{E230F36B-B0C6-4F21-ACF9-381F97FAE93C}" destId="{19250715-646C-42CC-A1A1-F71D9840618E}" srcOrd="0" destOrd="0" presId="urn:microsoft.com/office/officeart/2005/8/layout/hList1"/>
    <dgm:cxn modelId="{6ECA452B-402A-4E8C-A2C3-C1B30A734401}" type="presOf" srcId="{049F28B7-C0D0-4FAF-96EF-5B4717CF9FF1}" destId="{F818A7ED-A6B5-4A92-BE5F-15C48862F954}" srcOrd="0" destOrd="2" presId="urn:microsoft.com/office/officeart/2005/8/layout/hList1"/>
    <dgm:cxn modelId="{6D824C2E-F594-4553-B390-EA332E5A9083}" srcId="{E230F36B-B0C6-4F21-ACF9-381F97FAE93C}" destId="{17AF1611-A70F-43BF-8330-948C5EDD0E9E}" srcOrd="0" destOrd="0" parTransId="{90238272-13B1-4D04-9EFB-C76CA0072FCB}" sibTransId="{60EFFDFE-8AF4-4DD3-BCC5-8551B49B83C6}"/>
    <dgm:cxn modelId="{68A1BB2F-5761-4D27-B755-17C7E8A1A360}" type="presOf" srcId="{F122E3F4-6664-4F52-B1F5-0B19A6034406}" destId="{99FF60BD-F326-4F24-B5CD-57346148E5AE}" srcOrd="0" destOrd="4" presId="urn:microsoft.com/office/officeart/2005/8/layout/hList1"/>
    <dgm:cxn modelId="{9BB24839-DAAD-4A09-9948-C242485B7BF7}" srcId="{9A1837C6-E739-4CC6-9152-9E9E1A2DFBF2}" destId="{365F8973-5127-40AB-9386-68F01623AE8C}" srcOrd="0" destOrd="0" parTransId="{9B5D059B-30E5-42DA-B710-7CBDFF8BDEBC}" sibTransId="{F34A3055-5065-499F-BAF3-4AC7BA904E38}"/>
    <dgm:cxn modelId="{F24C645C-DB2B-404D-9066-B8F1881094A3}" type="presOf" srcId="{365F8973-5127-40AB-9386-68F01623AE8C}" destId="{F818A7ED-A6B5-4A92-BE5F-15C48862F954}" srcOrd="0" destOrd="0" presId="urn:microsoft.com/office/officeart/2005/8/layout/hList1"/>
    <dgm:cxn modelId="{3916EA62-A8AD-4D8E-B6C1-7EC0BB6BAEE2}" srcId="{AFDCFADA-56B1-47CE-99CB-A641F56F2586}" destId="{E230F36B-B0C6-4F21-ACF9-381F97FAE93C}" srcOrd="1" destOrd="0" parTransId="{05A69560-E041-454F-99F0-FD3F2381C616}" sibTransId="{CCEE8136-34FB-4FFD-A7C4-772C2605563B}"/>
    <dgm:cxn modelId="{EA9DEF44-A1BA-4DFA-AFA3-DCCDC1100A2C}" srcId="{E230F36B-B0C6-4F21-ACF9-381F97FAE93C}" destId="{88C1F049-F4A7-484F-A909-9D56E74A004B}" srcOrd="2" destOrd="0" parTransId="{F623A4A1-200B-46C2-B698-4B2AA4575150}" sibTransId="{01A241E3-A73F-4F06-9E03-38D4FDC2A080}"/>
    <dgm:cxn modelId="{DA54ED46-A624-4E9E-9BDF-5EA6961E695D}" type="presOf" srcId="{9A1837C6-E739-4CC6-9152-9E9E1A2DFBF2}" destId="{9E857E30-CB40-4959-93BD-2B947737A584}" srcOrd="0" destOrd="0" presId="urn:microsoft.com/office/officeart/2005/8/layout/hList1"/>
    <dgm:cxn modelId="{5669CE81-FE0F-4D16-9A29-5205DA886C85}" srcId="{AFDCFADA-56B1-47CE-99CB-A641F56F2586}" destId="{9A1837C6-E739-4CC6-9152-9E9E1A2DFBF2}" srcOrd="0" destOrd="0" parTransId="{5B41EF2B-74E0-4F9A-9838-FBAB727A42D0}" sibTransId="{AB4F7500-3413-42D2-B299-D0257C2BDD07}"/>
    <dgm:cxn modelId="{1A978A9B-2CB5-4CFD-BB33-A2CD5267295F}" type="presOf" srcId="{E375CFF9-1979-47BB-B761-6513F7C6D210}" destId="{99FF60BD-F326-4F24-B5CD-57346148E5AE}" srcOrd="0" destOrd="3" presId="urn:microsoft.com/office/officeart/2005/8/layout/hList1"/>
    <dgm:cxn modelId="{B700B7AB-D70F-4D3A-BF75-99DE83BE6638}" type="presOf" srcId="{32DADCDB-1F04-436B-BF52-21C5D21A5DE8}" destId="{99FF60BD-F326-4F24-B5CD-57346148E5AE}" srcOrd="0" destOrd="1" presId="urn:microsoft.com/office/officeart/2005/8/layout/hList1"/>
    <dgm:cxn modelId="{89E119B5-B91E-41F8-B558-153A61BCDB68}" srcId="{9A1837C6-E739-4CC6-9152-9E9E1A2DFBF2}" destId="{049F28B7-C0D0-4FAF-96EF-5B4717CF9FF1}" srcOrd="2" destOrd="0" parTransId="{86479D3C-A4E7-422A-8A33-C21CD0253F24}" sibTransId="{6BE4F847-9F6F-41FD-883B-9F02D4EDF281}"/>
    <dgm:cxn modelId="{633167B5-C7E3-4BE9-8ED7-A13F394B34A6}" srcId="{E230F36B-B0C6-4F21-ACF9-381F97FAE93C}" destId="{A4BB8169-A4B6-424C-A014-029AFF6D3E1C}" srcOrd="5" destOrd="0" parTransId="{0CA8DDA5-B5C5-4E29-877C-EB7282487E7F}" sibTransId="{FD05F4DD-6C98-4219-800A-C94A73C8DBDF}"/>
    <dgm:cxn modelId="{1C80A8C3-5BA2-4C32-B26B-A6D3C37890E8}" srcId="{E230F36B-B0C6-4F21-ACF9-381F97FAE93C}" destId="{F122E3F4-6664-4F52-B1F5-0B19A6034406}" srcOrd="4" destOrd="0" parTransId="{8FD3A94D-78CF-4F7D-A0BF-D13CB8C72FDA}" sibTransId="{1DC94117-8032-425B-B522-0601192BCEE7}"/>
    <dgm:cxn modelId="{AEE5D7DD-C9B2-4CD3-8239-1FD458E916CF}" type="presOf" srcId="{AFDCFADA-56B1-47CE-99CB-A641F56F2586}" destId="{820C2D47-BCB3-4805-B3BD-BF9270C6F8EB}" srcOrd="0" destOrd="0" presId="urn:microsoft.com/office/officeart/2005/8/layout/hList1"/>
    <dgm:cxn modelId="{470257E4-AE23-4A58-9A9D-8FD05EDF571C}" type="presOf" srcId="{17AF1611-A70F-43BF-8330-948C5EDD0E9E}" destId="{99FF60BD-F326-4F24-B5CD-57346148E5AE}" srcOrd="0" destOrd="0" presId="urn:microsoft.com/office/officeart/2005/8/layout/hList1"/>
    <dgm:cxn modelId="{B65381EE-764D-434E-BFAF-C6CCB28AD376}" srcId="{E230F36B-B0C6-4F21-ACF9-381F97FAE93C}" destId="{E375CFF9-1979-47BB-B761-6513F7C6D210}" srcOrd="3" destOrd="0" parTransId="{45E8EA2C-31DE-4D36-A60A-3679B00E3754}" sibTransId="{6FE0B01F-9E9D-4729-B45D-5D80C219EE07}"/>
    <dgm:cxn modelId="{E75841A3-A4C4-49DA-8637-73389E279B73}" type="presParOf" srcId="{820C2D47-BCB3-4805-B3BD-BF9270C6F8EB}" destId="{8B3EB5EE-A97F-45D5-AA20-B36E78805055}" srcOrd="0" destOrd="0" presId="urn:microsoft.com/office/officeart/2005/8/layout/hList1"/>
    <dgm:cxn modelId="{5F0DE650-EB81-4190-85DD-C7CC269DD19D}" type="presParOf" srcId="{8B3EB5EE-A97F-45D5-AA20-B36E78805055}" destId="{9E857E30-CB40-4959-93BD-2B947737A584}" srcOrd="0" destOrd="0" presId="urn:microsoft.com/office/officeart/2005/8/layout/hList1"/>
    <dgm:cxn modelId="{CDBF4E7B-593B-4401-AD72-0E9C2FD0D145}" type="presParOf" srcId="{8B3EB5EE-A97F-45D5-AA20-B36E78805055}" destId="{F818A7ED-A6B5-4A92-BE5F-15C48862F954}" srcOrd="1" destOrd="0" presId="urn:microsoft.com/office/officeart/2005/8/layout/hList1"/>
    <dgm:cxn modelId="{A46F5DB1-5540-46DF-92A7-20FB6D50E259}" type="presParOf" srcId="{820C2D47-BCB3-4805-B3BD-BF9270C6F8EB}" destId="{75B3A935-EC79-47BD-9FF3-341066892BFE}" srcOrd="1" destOrd="0" presId="urn:microsoft.com/office/officeart/2005/8/layout/hList1"/>
    <dgm:cxn modelId="{A4A957CA-339E-4246-8849-8C92D76FC08B}" type="presParOf" srcId="{820C2D47-BCB3-4805-B3BD-BF9270C6F8EB}" destId="{0F74DFC5-B17A-40E2-AC4A-D1B45CEE8348}" srcOrd="2" destOrd="0" presId="urn:microsoft.com/office/officeart/2005/8/layout/hList1"/>
    <dgm:cxn modelId="{24647E1F-4703-4288-94FB-AD1E2F838026}" type="presParOf" srcId="{0F74DFC5-B17A-40E2-AC4A-D1B45CEE8348}" destId="{19250715-646C-42CC-A1A1-F71D9840618E}" srcOrd="0" destOrd="0" presId="urn:microsoft.com/office/officeart/2005/8/layout/hList1"/>
    <dgm:cxn modelId="{E91B384D-A9B1-4386-B6C9-6900F932239A}" type="presParOf" srcId="{0F74DFC5-B17A-40E2-AC4A-D1B45CEE8348}" destId="{99FF60BD-F326-4F24-B5CD-57346148E5A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AFDCFADA-56B1-47CE-99CB-A641F56F2586}"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9A1837C6-E739-4CC6-9152-9E9E1A2DFBF2}">
      <dgm:prSet custT="1"/>
      <dgm:spPr/>
      <dgm:t>
        <a:bodyPr/>
        <a:lstStyle/>
        <a:p>
          <a:pPr algn="ctr"/>
          <a:r>
            <a:rPr lang="en-US" sz="2400" baseline="0" dirty="0"/>
            <a:t>To avoid VLF fragmentation</a:t>
          </a:r>
          <a:endParaRPr lang="en-US" sz="2400" dirty="0"/>
        </a:p>
      </dgm:t>
    </dgm:pt>
    <dgm:pt modelId="{5B41EF2B-74E0-4F9A-9838-FBAB727A42D0}" type="parTrans" cxnId="{5669CE81-FE0F-4D16-9A29-5205DA886C85}">
      <dgm:prSet/>
      <dgm:spPr/>
      <dgm:t>
        <a:bodyPr/>
        <a:lstStyle/>
        <a:p>
          <a:endParaRPr lang="en-US" sz="1600"/>
        </a:p>
      </dgm:t>
    </dgm:pt>
    <dgm:pt modelId="{AB4F7500-3413-42D2-B299-D0257C2BDD07}" type="sibTrans" cxnId="{5669CE81-FE0F-4D16-9A29-5205DA886C85}">
      <dgm:prSet/>
      <dgm:spPr/>
      <dgm:t>
        <a:bodyPr/>
        <a:lstStyle/>
        <a:p>
          <a:endParaRPr lang="en-US" sz="1600"/>
        </a:p>
      </dgm:t>
    </dgm:pt>
    <dgm:pt modelId="{1B070914-0E2C-4BD3-9B35-D1DD1D7CE82D}">
      <dgm:prSet custT="1"/>
      <dgm:spPr/>
      <dgm:t>
        <a:bodyPr/>
        <a:lstStyle/>
        <a:p>
          <a:r>
            <a:rPr lang="en-US" sz="2400" baseline="0" dirty="0"/>
            <a:t>Pre-size log files to avoid unplanned file growth</a:t>
          </a:r>
          <a:endParaRPr lang="en-US" sz="2400" dirty="0"/>
        </a:p>
      </dgm:t>
    </dgm:pt>
    <dgm:pt modelId="{546BDA8A-455A-497B-832A-1B461F6CD96E}" type="parTrans" cxnId="{DE2DB9D4-1ABD-45BB-AFE1-41A7355E185D}">
      <dgm:prSet/>
      <dgm:spPr/>
      <dgm:t>
        <a:bodyPr/>
        <a:lstStyle/>
        <a:p>
          <a:endParaRPr lang="en-US"/>
        </a:p>
      </dgm:t>
    </dgm:pt>
    <dgm:pt modelId="{65E5D366-E7B4-4CA1-A120-1B2A12949AEB}" type="sibTrans" cxnId="{DE2DB9D4-1ABD-45BB-AFE1-41A7355E185D}">
      <dgm:prSet/>
      <dgm:spPr/>
      <dgm:t>
        <a:bodyPr/>
        <a:lstStyle/>
        <a:p>
          <a:endParaRPr lang="en-US"/>
        </a:p>
      </dgm:t>
    </dgm:pt>
    <dgm:pt modelId="{712BDDD6-3180-487E-993E-F24F065B1B3C}">
      <dgm:prSet custT="1"/>
      <dgm:spPr/>
      <dgm:t>
        <a:bodyPr/>
        <a:lstStyle/>
        <a:p>
          <a:r>
            <a:rPr lang="en-US" sz="2400" baseline="0" dirty="0"/>
            <a:t>Set autogrowth to an appropriate fixed size</a:t>
          </a:r>
          <a:endParaRPr lang="en-US" sz="2400" dirty="0"/>
        </a:p>
      </dgm:t>
    </dgm:pt>
    <dgm:pt modelId="{81405C20-B030-41D2-B963-7A0563A3014B}" type="parTrans" cxnId="{BB051037-F8FC-46C6-89AF-90FD16A4556A}">
      <dgm:prSet/>
      <dgm:spPr/>
      <dgm:t>
        <a:bodyPr/>
        <a:lstStyle/>
        <a:p>
          <a:endParaRPr lang="en-US"/>
        </a:p>
      </dgm:t>
    </dgm:pt>
    <dgm:pt modelId="{1D09B374-C057-4E54-9FA7-8DD13C221F93}" type="sibTrans" cxnId="{BB051037-F8FC-46C6-89AF-90FD16A4556A}">
      <dgm:prSet/>
      <dgm:spPr/>
      <dgm:t>
        <a:bodyPr/>
        <a:lstStyle/>
        <a:p>
          <a:endParaRPr lang="en-US"/>
        </a:p>
      </dgm:t>
    </dgm:pt>
    <dgm:pt modelId="{CBB3ABE2-56DA-48A9-957B-EAB8DF08F9F7}">
      <dgm:prSet custT="1"/>
      <dgm:spPr/>
      <dgm:t>
        <a:bodyPr/>
        <a:lstStyle/>
        <a:p>
          <a:pPr algn="ctr"/>
          <a:r>
            <a:rPr lang="en-US" sz="2400" baseline="0" dirty="0"/>
            <a:t>To view VLFs</a:t>
          </a:r>
          <a:endParaRPr lang="en-US" sz="2400" dirty="0"/>
        </a:p>
      </dgm:t>
    </dgm:pt>
    <dgm:pt modelId="{A9667D9E-3907-4309-A684-528DEAEEFAE2}" type="parTrans" cxnId="{86F88FD7-20D8-4FE4-81C3-E085BCB41634}">
      <dgm:prSet/>
      <dgm:spPr/>
      <dgm:t>
        <a:bodyPr/>
        <a:lstStyle/>
        <a:p>
          <a:endParaRPr lang="en-US"/>
        </a:p>
      </dgm:t>
    </dgm:pt>
    <dgm:pt modelId="{BA2F420F-7AAE-43DA-B16D-C613D90C966B}" type="sibTrans" cxnId="{86F88FD7-20D8-4FE4-81C3-E085BCB41634}">
      <dgm:prSet/>
      <dgm:spPr/>
      <dgm:t>
        <a:bodyPr/>
        <a:lstStyle/>
        <a:p>
          <a:endParaRPr lang="en-US"/>
        </a:p>
      </dgm:t>
    </dgm:pt>
    <dgm:pt modelId="{A2DFB8E8-A64E-4687-A41B-BAC714DCBEF9}">
      <dgm:prSet custT="1"/>
      <dgm:spPr/>
      <dgm:t>
        <a:bodyPr/>
        <a:lstStyle/>
        <a:p>
          <a:r>
            <a:rPr lang="en-US" sz="2400" baseline="0" dirty="0">
              <a:latin typeface="+mn-lt"/>
            </a:rPr>
            <a:t>DBCC LOGINFO (&lt;database_id&gt;)</a:t>
          </a:r>
          <a:endParaRPr lang="en-US" sz="2400" dirty="0">
            <a:latin typeface="+mn-lt"/>
          </a:endParaRPr>
        </a:p>
      </dgm:t>
    </dgm:pt>
    <dgm:pt modelId="{ABBDEEC3-A28B-4EF9-ABD6-190DE7A2CCDF}" type="parTrans" cxnId="{656B001E-EB1F-41B7-ACFD-42E5954C2961}">
      <dgm:prSet/>
      <dgm:spPr/>
      <dgm:t>
        <a:bodyPr/>
        <a:lstStyle/>
        <a:p>
          <a:endParaRPr lang="en-US"/>
        </a:p>
      </dgm:t>
    </dgm:pt>
    <dgm:pt modelId="{ECFAC733-3148-4EF6-B6FE-AC81AA48EF12}" type="sibTrans" cxnId="{656B001E-EB1F-41B7-ACFD-42E5954C2961}">
      <dgm:prSet/>
      <dgm:spPr/>
      <dgm:t>
        <a:bodyPr/>
        <a:lstStyle/>
        <a:p>
          <a:endParaRPr lang="en-US"/>
        </a:p>
      </dgm:t>
    </dgm:pt>
    <dgm:pt modelId="{6D456B3A-A555-4897-8694-1E10EEE9190A}">
      <dgm:prSet custT="1"/>
      <dgm:spPr/>
      <dgm:t>
        <a:bodyPr/>
        <a:lstStyle/>
        <a:p>
          <a:r>
            <a:rPr lang="en-US" sz="2400" baseline="0">
              <a:latin typeface="+mn-lt"/>
            </a:rPr>
            <a:t>sys.dm_db_log_info (SQL Server 2016 SP2 and higher )</a:t>
          </a:r>
          <a:endParaRPr lang="en-US" sz="2400" dirty="0">
            <a:latin typeface="+mn-lt"/>
          </a:endParaRPr>
        </a:p>
      </dgm:t>
    </dgm:pt>
    <dgm:pt modelId="{CF21D87A-39AE-4F8C-AA55-D26BB470D52A}" type="parTrans" cxnId="{A97F28F9-C82E-4B10-81EC-4D8DA6554331}">
      <dgm:prSet/>
      <dgm:spPr/>
      <dgm:t>
        <a:bodyPr/>
        <a:lstStyle/>
        <a:p>
          <a:endParaRPr lang="en-US"/>
        </a:p>
      </dgm:t>
    </dgm:pt>
    <dgm:pt modelId="{0AF701BF-4378-4F12-84A5-0A84D379BDB5}" type="sibTrans" cxnId="{A97F28F9-C82E-4B10-81EC-4D8DA6554331}">
      <dgm:prSet/>
      <dgm:spPr/>
      <dgm:t>
        <a:bodyPr/>
        <a:lstStyle/>
        <a:p>
          <a:endParaRPr lang="en-US"/>
        </a:p>
      </dgm:t>
    </dgm:pt>
    <dgm:pt modelId="{6C19317D-EB9F-4ED3-BFC3-1935C9B355D6}">
      <dgm:prSet custT="1"/>
      <dgm:spPr/>
      <dgm:t>
        <a:bodyPr/>
        <a:lstStyle/>
        <a:p>
          <a:r>
            <a:rPr lang="en-US" sz="2400" baseline="0" dirty="0">
              <a:latin typeface="+mn-lt"/>
            </a:rPr>
            <a:t>Active VLFs have a status of 2</a:t>
          </a:r>
          <a:endParaRPr lang="en-US" sz="2400" dirty="0">
            <a:latin typeface="+mn-lt"/>
          </a:endParaRPr>
        </a:p>
      </dgm:t>
    </dgm:pt>
    <dgm:pt modelId="{27DFC88A-BD7B-496A-A359-3364F50C5D34}" type="parTrans" cxnId="{0C275A98-D54C-4333-A1D0-9FC00796AB30}">
      <dgm:prSet/>
      <dgm:spPr/>
      <dgm:t>
        <a:bodyPr/>
        <a:lstStyle/>
        <a:p>
          <a:endParaRPr lang="en-US"/>
        </a:p>
      </dgm:t>
    </dgm:pt>
    <dgm:pt modelId="{B37E66E3-0639-4C67-A042-6D704624F222}" type="sibTrans" cxnId="{0C275A98-D54C-4333-A1D0-9FC00796AB30}">
      <dgm:prSet/>
      <dgm:spPr/>
      <dgm:t>
        <a:bodyPr/>
        <a:lstStyle/>
        <a:p>
          <a:endParaRPr lang="en-US"/>
        </a:p>
      </dgm:t>
    </dgm:pt>
    <dgm:pt modelId="{D4B69FA9-9D90-45A9-B574-01B7951FACCB}">
      <dgm:prSet custT="1"/>
      <dgm:spPr/>
      <dgm:t>
        <a:bodyPr/>
        <a:lstStyle/>
        <a:p>
          <a:r>
            <a:rPr lang="en-US" sz="2400" baseline="0" dirty="0">
              <a:latin typeface="+mn-lt"/>
            </a:rPr>
            <a:t>SQL Server Error Log (SQL 2012 and higher)</a:t>
          </a:r>
          <a:endParaRPr lang="en-US" sz="2400" dirty="0">
            <a:latin typeface="+mn-lt"/>
          </a:endParaRPr>
        </a:p>
      </dgm:t>
    </dgm:pt>
    <dgm:pt modelId="{AD6BDF6F-A0F3-4E15-972A-D92A795884AC}" type="parTrans" cxnId="{82EE8A03-A58C-419C-AF99-83F1E136443F}">
      <dgm:prSet/>
      <dgm:spPr/>
      <dgm:t>
        <a:bodyPr/>
        <a:lstStyle/>
        <a:p>
          <a:endParaRPr lang="en-US"/>
        </a:p>
      </dgm:t>
    </dgm:pt>
    <dgm:pt modelId="{6C0BE8F2-7529-40D1-BF72-F47102519418}" type="sibTrans" cxnId="{82EE8A03-A58C-419C-AF99-83F1E136443F}">
      <dgm:prSet/>
      <dgm:spPr/>
      <dgm:t>
        <a:bodyPr/>
        <a:lstStyle/>
        <a:p>
          <a:endParaRPr lang="en-US"/>
        </a:p>
      </dgm:t>
    </dgm:pt>
    <dgm:pt modelId="{820C2D47-BCB3-4805-B3BD-BF9270C6F8EB}" type="pres">
      <dgm:prSet presAssocID="{AFDCFADA-56B1-47CE-99CB-A641F56F2586}" presName="Name0" presStyleCnt="0">
        <dgm:presLayoutVars>
          <dgm:dir/>
          <dgm:animLvl val="lvl"/>
          <dgm:resizeHandles val="exact"/>
        </dgm:presLayoutVars>
      </dgm:prSet>
      <dgm:spPr/>
    </dgm:pt>
    <dgm:pt modelId="{8B3EB5EE-A97F-45D5-AA20-B36E78805055}" type="pres">
      <dgm:prSet presAssocID="{9A1837C6-E739-4CC6-9152-9E9E1A2DFBF2}" presName="composite" presStyleCnt="0"/>
      <dgm:spPr/>
    </dgm:pt>
    <dgm:pt modelId="{9E857E30-CB40-4959-93BD-2B947737A584}" type="pres">
      <dgm:prSet presAssocID="{9A1837C6-E739-4CC6-9152-9E9E1A2DFBF2}" presName="parTx" presStyleLbl="alignNode1" presStyleIdx="0" presStyleCnt="2">
        <dgm:presLayoutVars>
          <dgm:chMax val="0"/>
          <dgm:chPref val="0"/>
          <dgm:bulletEnabled val="1"/>
        </dgm:presLayoutVars>
      </dgm:prSet>
      <dgm:spPr/>
    </dgm:pt>
    <dgm:pt modelId="{F818A7ED-A6B5-4A92-BE5F-15C48862F954}" type="pres">
      <dgm:prSet presAssocID="{9A1837C6-E739-4CC6-9152-9E9E1A2DFBF2}" presName="desTx" presStyleLbl="alignAccFollowNode1" presStyleIdx="0" presStyleCnt="2">
        <dgm:presLayoutVars>
          <dgm:bulletEnabled val="1"/>
        </dgm:presLayoutVars>
      </dgm:prSet>
      <dgm:spPr/>
    </dgm:pt>
    <dgm:pt modelId="{75B3A935-EC79-47BD-9FF3-341066892BFE}" type="pres">
      <dgm:prSet presAssocID="{AB4F7500-3413-42D2-B299-D0257C2BDD07}" presName="space" presStyleCnt="0"/>
      <dgm:spPr/>
    </dgm:pt>
    <dgm:pt modelId="{701F9D35-32FF-463B-8B6E-CBB7D57B8E46}" type="pres">
      <dgm:prSet presAssocID="{CBB3ABE2-56DA-48A9-957B-EAB8DF08F9F7}" presName="composite" presStyleCnt="0"/>
      <dgm:spPr/>
    </dgm:pt>
    <dgm:pt modelId="{DD8549A9-7F81-4642-B655-0A6E1398356E}" type="pres">
      <dgm:prSet presAssocID="{CBB3ABE2-56DA-48A9-957B-EAB8DF08F9F7}" presName="parTx" presStyleLbl="alignNode1" presStyleIdx="1" presStyleCnt="2">
        <dgm:presLayoutVars>
          <dgm:chMax val="0"/>
          <dgm:chPref val="0"/>
          <dgm:bulletEnabled val="1"/>
        </dgm:presLayoutVars>
      </dgm:prSet>
      <dgm:spPr/>
    </dgm:pt>
    <dgm:pt modelId="{0CD312EF-073D-451E-AE96-15C3C6D43B4D}" type="pres">
      <dgm:prSet presAssocID="{CBB3ABE2-56DA-48A9-957B-EAB8DF08F9F7}" presName="desTx" presStyleLbl="alignAccFollowNode1" presStyleIdx="1" presStyleCnt="2">
        <dgm:presLayoutVars>
          <dgm:bulletEnabled val="1"/>
        </dgm:presLayoutVars>
      </dgm:prSet>
      <dgm:spPr/>
    </dgm:pt>
  </dgm:ptLst>
  <dgm:cxnLst>
    <dgm:cxn modelId="{82EE8A03-A58C-419C-AF99-83F1E136443F}" srcId="{CBB3ABE2-56DA-48A9-957B-EAB8DF08F9F7}" destId="{D4B69FA9-9D90-45A9-B574-01B7951FACCB}" srcOrd="3" destOrd="0" parTransId="{AD6BDF6F-A0F3-4E15-972A-D92A795884AC}" sibTransId="{6C0BE8F2-7529-40D1-BF72-F47102519418}"/>
    <dgm:cxn modelId="{5F792709-8BB6-4F38-98AB-BFB5886A0E8C}" type="presOf" srcId="{D4B69FA9-9D90-45A9-B574-01B7951FACCB}" destId="{0CD312EF-073D-451E-AE96-15C3C6D43B4D}" srcOrd="0" destOrd="3" presId="urn:microsoft.com/office/officeart/2005/8/layout/hList1"/>
    <dgm:cxn modelId="{656B001E-EB1F-41B7-ACFD-42E5954C2961}" srcId="{CBB3ABE2-56DA-48A9-957B-EAB8DF08F9F7}" destId="{A2DFB8E8-A64E-4687-A41B-BAC714DCBEF9}" srcOrd="0" destOrd="0" parTransId="{ABBDEEC3-A28B-4EF9-ABD6-190DE7A2CCDF}" sibTransId="{ECFAC733-3148-4EF6-B6FE-AC81AA48EF12}"/>
    <dgm:cxn modelId="{DBC8AE1F-F7AC-43DF-86D6-8ADBEAFC77B1}" type="presOf" srcId="{A2DFB8E8-A64E-4687-A41B-BAC714DCBEF9}" destId="{0CD312EF-073D-451E-AE96-15C3C6D43B4D}" srcOrd="0" destOrd="0" presId="urn:microsoft.com/office/officeart/2005/8/layout/hList1"/>
    <dgm:cxn modelId="{1F6B9F2B-5E8B-42CE-B411-886C5024BD93}" type="presOf" srcId="{6C19317D-EB9F-4ED3-BFC3-1935C9B355D6}" destId="{0CD312EF-073D-451E-AE96-15C3C6D43B4D}" srcOrd="0" destOrd="2" presId="urn:microsoft.com/office/officeart/2005/8/layout/hList1"/>
    <dgm:cxn modelId="{BB051037-F8FC-46C6-89AF-90FD16A4556A}" srcId="{9A1837C6-E739-4CC6-9152-9E9E1A2DFBF2}" destId="{712BDDD6-3180-487E-993E-F24F065B1B3C}" srcOrd="1" destOrd="0" parTransId="{81405C20-B030-41D2-B963-7A0563A3014B}" sibTransId="{1D09B374-C057-4E54-9FA7-8DD13C221F93}"/>
    <dgm:cxn modelId="{711EDA46-BF9A-4BF6-8D94-6C1DFF93373C}" type="presOf" srcId="{1B070914-0E2C-4BD3-9B35-D1DD1D7CE82D}" destId="{F818A7ED-A6B5-4A92-BE5F-15C48862F954}" srcOrd="0" destOrd="0" presId="urn:microsoft.com/office/officeart/2005/8/layout/hList1"/>
    <dgm:cxn modelId="{DA54ED46-A624-4E9E-9BDF-5EA6961E695D}" type="presOf" srcId="{9A1837C6-E739-4CC6-9152-9E9E1A2DFBF2}" destId="{9E857E30-CB40-4959-93BD-2B947737A584}" srcOrd="0" destOrd="0" presId="urn:microsoft.com/office/officeart/2005/8/layout/hList1"/>
    <dgm:cxn modelId="{0880874F-9A56-457E-A331-1BACA83E3799}" type="presOf" srcId="{712BDDD6-3180-487E-993E-F24F065B1B3C}" destId="{F818A7ED-A6B5-4A92-BE5F-15C48862F954}" srcOrd="0" destOrd="1" presId="urn:microsoft.com/office/officeart/2005/8/layout/hList1"/>
    <dgm:cxn modelId="{5669CE81-FE0F-4D16-9A29-5205DA886C85}" srcId="{AFDCFADA-56B1-47CE-99CB-A641F56F2586}" destId="{9A1837C6-E739-4CC6-9152-9E9E1A2DFBF2}" srcOrd="0" destOrd="0" parTransId="{5B41EF2B-74E0-4F9A-9838-FBAB727A42D0}" sibTransId="{AB4F7500-3413-42D2-B299-D0257C2BDD07}"/>
    <dgm:cxn modelId="{0C275A98-D54C-4333-A1D0-9FC00796AB30}" srcId="{CBB3ABE2-56DA-48A9-957B-EAB8DF08F9F7}" destId="{6C19317D-EB9F-4ED3-BFC3-1935C9B355D6}" srcOrd="2" destOrd="0" parTransId="{27DFC88A-BD7B-496A-A359-3364F50C5D34}" sibTransId="{B37E66E3-0639-4C67-A042-6D704624F222}"/>
    <dgm:cxn modelId="{FF0FCEA3-DD1D-4580-8F18-312E3BD0FFEE}" type="presOf" srcId="{6D456B3A-A555-4897-8694-1E10EEE9190A}" destId="{0CD312EF-073D-451E-AE96-15C3C6D43B4D}" srcOrd="0" destOrd="1" presId="urn:microsoft.com/office/officeart/2005/8/layout/hList1"/>
    <dgm:cxn modelId="{DE2DB9D4-1ABD-45BB-AFE1-41A7355E185D}" srcId="{9A1837C6-E739-4CC6-9152-9E9E1A2DFBF2}" destId="{1B070914-0E2C-4BD3-9B35-D1DD1D7CE82D}" srcOrd="0" destOrd="0" parTransId="{546BDA8A-455A-497B-832A-1B461F6CD96E}" sibTransId="{65E5D366-E7B4-4CA1-A120-1B2A12949AEB}"/>
    <dgm:cxn modelId="{86F88FD7-20D8-4FE4-81C3-E085BCB41634}" srcId="{AFDCFADA-56B1-47CE-99CB-A641F56F2586}" destId="{CBB3ABE2-56DA-48A9-957B-EAB8DF08F9F7}" srcOrd="1" destOrd="0" parTransId="{A9667D9E-3907-4309-A684-528DEAEEFAE2}" sibTransId="{BA2F420F-7AAE-43DA-B16D-C613D90C966B}"/>
    <dgm:cxn modelId="{AEE5D7DD-C9B2-4CD3-8239-1FD458E916CF}" type="presOf" srcId="{AFDCFADA-56B1-47CE-99CB-A641F56F2586}" destId="{820C2D47-BCB3-4805-B3BD-BF9270C6F8EB}" srcOrd="0" destOrd="0" presId="urn:microsoft.com/office/officeart/2005/8/layout/hList1"/>
    <dgm:cxn modelId="{1469F6ED-AA7C-45B9-B4BF-C9E6E487430E}" type="presOf" srcId="{CBB3ABE2-56DA-48A9-957B-EAB8DF08F9F7}" destId="{DD8549A9-7F81-4642-B655-0A6E1398356E}" srcOrd="0" destOrd="0" presId="urn:microsoft.com/office/officeart/2005/8/layout/hList1"/>
    <dgm:cxn modelId="{A97F28F9-C82E-4B10-81EC-4D8DA6554331}" srcId="{CBB3ABE2-56DA-48A9-957B-EAB8DF08F9F7}" destId="{6D456B3A-A555-4897-8694-1E10EEE9190A}" srcOrd="1" destOrd="0" parTransId="{CF21D87A-39AE-4F8C-AA55-D26BB470D52A}" sibTransId="{0AF701BF-4378-4F12-84A5-0A84D379BDB5}"/>
    <dgm:cxn modelId="{E75841A3-A4C4-49DA-8637-73389E279B73}" type="presParOf" srcId="{820C2D47-BCB3-4805-B3BD-BF9270C6F8EB}" destId="{8B3EB5EE-A97F-45D5-AA20-B36E78805055}" srcOrd="0" destOrd="0" presId="urn:microsoft.com/office/officeart/2005/8/layout/hList1"/>
    <dgm:cxn modelId="{5F0DE650-EB81-4190-85DD-C7CC269DD19D}" type="presParOf" srcId="{8B3EB5EE-A97F-45D5-AA20-B36E78805055}" destId="{9E857E30-CB40-4959-93BD-2B947737A584}" srcOrd="0" destOrd="0" presId="urn:microsoft.com/office/officeart/2005/8/layout/hList1"/>
    <dgm:cxn modelId="{CDBF4E7B-593B-4401-AD72-0E9C2FD0D145}" type="presParOf" srcId="{8B3EB5EE-A97F-45D5-AA20-B36E78805055}" destId="{F818A7ED-A6B5-4A92-BE5F-15C48862F954}" srcOrd="1" destOrd="0" presId="urn:microsoft.com/office/officeart/2005/8/layout/hList1"/>
    <dgm:cxn modelId="{A46F5DB1-5540-46DF-92A7-20FB6D50E259}" type="presParOf" srcId="{820C2D47-BCB3-4805-B3BD-BF9270C6F8EB}" destId="{75B3A935-EC79-47BD-9FF3-341066892BFE}" srcOrd="1" destOrd="0" presId="urn:microsoft.com/office/officeart/2005/8/layout/hList1"/>
    <dgm:cxn modelId="{2832BBBD-2AFF-400F-A634-2B2B77ADDD0E}" type="presParOf" srcId="{820C2D47-BCB3-4805-B3BD-BF9270C6F8EB}" destId="{701F9D35-32FF-463B-8B6E-CBB7D57B8E46}" srcOrd="2" destOrd="0" presId="urn:microsoft.com/office/officeart/2005/8/layout/hList1"/>
    <dgm:cxn modelId="{7C1CCFA1-D0D2-47EE-A2DE-3E0D3D4E8103}" type="presParOf" srcId="{701F9D35-32FF-463B-8B6E-CBB7D57B8E46}" destId="{DD8549A9-7F81-4642-B655-0A6E1398356E}" srcOrd="0" destOrd="0" presId="urn:microsoft.com/office/officeart/2005/8/layout/hList1"/>
    <dgm:cxn modelId="{206CCB33-9F98-4564-B3F2-33645127C0C6}" type="presParOf" srcId="{701F9D35-32FF-463B-8B6E-CBB7D57B8E46}" destId="{0CD312EF-073D-451E-AE96-15C3C6D43B4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a VLF?</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E4912D94-1727-427A-857F-D90CFDE091E5}">
      <dgm:prSet custT="1"/>
      <dgm:spPr/>
      <dgm:t>
        <a:bodyPr/>
        <a:lstStyle/>
        <a:p>
          <a:r>
            <a:rPr lang="en-US" sz="2400" dirty="0"/>
            <a:t>What can be done to avoid having too many VLFs in the transaction log?</a:t>
          </a:r>
        </a:p>
      </dgm:t>
    </dgm:pt>
    <dgm:pt modelId="{E54C7479-3257-4075-91B3-6C4B6AFAA7D7}" type="parTrans" cxnId="{5A6B8065-38FF-4A25-9F96-CD72DD3984F6}">
      <dgm:prSet/>
      <dgm:spPr/>
      <dgm:t>
        <a:bodyPr/>
        <a:lstStyle/>
        <a:p>
          <a:endParaRPr lang="en-US"/>
        </a:p>
      </dgm:t>
    </dgm:pt>
    <dgm:pt modelId="{5A301D95-3750-4B21-8D47-78AFC6BBFA8F}" type="sibTrans" cxnId="{5A6B8065-38FF-4A25-9F96-CD72DD3984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69C73D1A-7C3F-4D5B-83BA-288144A7FE66}" type="pres">
      <dgm:prSet presAssocID="{E4912D94-1727-427A-857F-D90CFDE091E5}"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A6B8065-38FF-4A25-9F96-CD72DD3984F6}" srcId="{15A7774C-B622-4F48-8F7B-AF1AAB74E997}" destId="{E4912D94-1727-427A-857F-D90CFDE091E5}" srcOrd="1" destOrd="0" parTransId="{E54C7479-3257-4075-91B3-6C4B6AFAA7D7}" sibTransId="{5A301D95-3750-4B21-8D47-78AFC6BBFA8F}"/>
    <dgm:cxn modelId="{4BB646B5-2A6D-439D-A88F-AC928930541F}" srcId="{15A7774C-B622-4F48-8F7B-AF1AAB74E997}" destId="{CDCA19B1-3B45-4B24-8F19-085A650701BC}" srcOrd="0" destOrd="0" parTransId="{74BFB16A-6DC3-47DD-AE97-F15F596B23DF}" sibTransId="{CAE4D9F8-FDBB-4525-9125-6BAF56328FCE}"/>
    <dgm:cxn modelId="{256435BC-AC44-47B8-9F2B-397D03D88B61}" type="presOf" srcId="{E4912D94-1727-427A-857F-D90CFDE091E5}" destId="{69C73D1A-7C3F-4D5B-83BA-288144A7FE66}"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A61623BB-2139-48B0-85AD-BD9B32A62E31}" type="presParOf" srcId="{97400BD5-14CE-4761-8A6A-64BC46D23158}" destId="{69C73D1A-7C3F-4D5B-83BA-288144A7FE6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size of a data pag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6CA5B9D3-16C1-4CE5-8199-DCCC828A5841}">
      <dgm:prSet custT="1"/>
      <dgm:spPr/>
      <dgm:t>
        <a:bodyPr/>
        <a:lstStyle/>
        <a:p>
          <a:r>
            <a:rPr lang="en-US" sz="2400" dirty="0"/>
            <a:t>What is an extent?</a:t>
          </a:r>
        </a:p>
      </dgm:t>
    </dgm:pt>
    <dgm:pt modelId="{B798BD25-126F-46EE-B111-F7439F500039}" type="parTrans" cxnId="{8DE64920-5FFF-47FC-B018-E14224E6CE8F}">
      <dgm:prSet/>
      <dgm:spPr/>
      <dgm:t>
        <a:bodyPr/>
        <a:lstStyle/>
        <a:p>
          <a:endParaRPr lang="en-US"/>
        </a:p>
      </dgm:t>
    </dgm:pt>
    <dgm:pt modelId="{F7BF4C3A-8038-4F17-8F45-9B7FDBEEFF18}" type="sibTrans" cxnId="{8DE64920-5FFF-47FC-B018-E14224E6CE8F}">
      <dgm:prSet/>
      <dgm:spPr/>
      <dgm:t>
        <a:bodyPr/>
        <a:lstStyle/>
        <a:p>
          <a:endParaRPr lang="en-US"/>
        </a:p>
      </dgm:t>
    </dgm:pt>
    <dgm:pt modelId="{1847D74D-0E59-4C38-8B08-35A20202169B}">
      <dgm:prSet custT="1"/>
      <dgm:spPr/>
      <dgm:t>
        <a:bodyPr/>
        <a:lstStyle/>
        <a:p>
          <a:r>
            <a:rPr lang="en-US" sz="2400" dirty="0"/>
            <a:t>What are different page types?</a:t>
          </a:r>
        </a:p>
      </dgm:t>
    </dgm:pt>
    <dgm:pt modelId="{1230DADA-0D02-4E49-92BB-36EC892C0FE4}" type="parTrans" cxnId="{C775C0B5-FB61-44D8-8FC1-C02A91352E24}">
      <dgm:prSet/>
      <dgm:spPr/>
      <dgm:t>
        <a:bodyPr/>
        <a:lstStyle/>
        <a:p>
          <a:endParaRPr lang="en-US"/>
        </a:p>
      </dgm:t>
    </dgm:pt>
    <dgm:pt modelId="{D5A4DE77-F601-4410-AF3F-500EA6CB606B}" type="sibTrans" cxnId="{C775C0B5-FB61-44D8-8FC1-C02A91352E24}">
      <dgm:prSet/>
      <dgm:spPr/>
      <dgm:t>
        <a:bodyPr/>
        <a:lstStyle/>
        <a:p>
          <a:endParaRPr lang="en-US"/>
        </a:p>
      </dgm:t>
    </dgm:pt>
    <dgm:pt modelId="{B105F0CF-C4C6-441C-A1AD-C17B5D76B95A}">
      <dgm:prSet custT="1"/>
      <dgm:spPr/>
      <dgm:t>
        <a:bodyPr/>
        <a:lstStyle/>
        <a:p>
          <a:r>
            <a:rPr lang="en-US" sz="2400" dirty="0"/>
            <a:t>What is a row overflow?</a:t>
          </a:r>
        </a:p>
      </dgm:t>
    </dgm:pt>
    <dgm:pt modelId="{75E4212B-5732-40FB-842E-3DA8D95093B5}" type="parTrans" cxnId="{C7EC4E4D-DD2D-4713-97C9-98DCF11B7F1C}">
      <dgm:prSet/>
      <dgm:spPr/>
      <dgm:t>
        <a:bodyPr/>
        <a:lstStyle/>
        <a:p>
          <a:endParaRPr lang="en-US"/>
        </a:p>
      </dgm:t>
    </dgm:pt>
    <dgm:pt modelId="{C8494E72-F46A-4FD0-A6B7-B726B397C913}" type="sibTrans" cxnId="{C7EC4E4D-DD2D-4713-97C9-98DCF11B7F1C}">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887BE0F1-1F8C-4B28-9D5E-FA391E21F9B4}" type="pres">
      <dgm:prSet presAssocID="{6CA5B9D3-16C1-4CE5-8199-DCCC828A5841}" presName="parentText" presStyleLbl="node1" presStyleIdx="1" presStyleCnt="4">
        <dgm:presLayoutVars>
          <dgm:chMax val="0"/>
          <dgm:bulletEnabled val="1"/>
        </dgm:presLayoutVars>
      </dgm:prSet>
      <dgm:spPr/>
    </dgm:pt>
    <dgm:pt modelId="{74637049-5207-4E60-9D62-CF91923C4F57}" type="pres">
      <dgm:prSet presAssocID="{F7BF4C3A-8038-4F17-8F45-9B7FDBEEFF18}" presName="spacer" presStyleCnt="0"/>
      <dgm:spPr/>
    </dgm:pt>
    <dgm:pt modelId="{5E322BD9-1FCD-48EF-845C-3576961322B2}" type="pres">
      <dgm:prSet presAssocID="{1847D74D-0E59-4C38-8B08-35A20202169B}" presName="parentText" presStyleLbl="node1" presStyleIdx="2" presStyleCnt="4">
        <dgm:presLayoutVars>
          <dgm:chMax val="0"/>
          <dgm:bulletEnabled val="1"/>
        </dgm:presLayoutVars>
      </dgm:prSet>
      <dgm:spPr/>
    </dgm:pt>
    <dgm:pt modelId="{9A405829-63A1-4324-A1B3-A4ED0D6130DA}" type="pres">
      <dgm:prSet presAssocID="{D5A4DE77-F601-4410-AF3F-500EA6CB606B}" presName="spacer" presStyleCnt="0"/>
      <dgm:spPr/>
    </dgm:pt>
    <dgm:pt modelId="{62932160-E06A-4525-89FE-369F18EAB9AC}" type="pres">
      <dgm:prSet presAssocID="{B105F0CF-C4C6-441C-A1AD-C17B5D76B95A}"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8DE64920-5FFF-47FC-B018-E14224E6CE8F}" srcId="{15A7774C-B622-4F48-8F7B-AF1AAB74E997}" destId="{6CA5B9D3-16C1-4CE5-8199-DCCC828A5841}" srcOrd="1" destOrd="0" parTransId="{B798BD25-126F-46EE-B111-F7439F500039}" sibTransId="{F7BF4C3A-8038-4F17-8F45-9B7FDBEEFF18}"/>
    <dgm:cxn modelId="{DB4DCB27-91BA-426C-890A-8F10ABBFDD83}" type="presOf" srcId="{CDCA19B1-3B45-4B24-8F19-085A650701BC}" destId="{86989247-99F6-4AF2-B76D-35A7CDAFD370}" srcOrd="0" destOrd="0" presId="urn:microsoft.com/office/officeart/2005/8/layout/vList2"/>
    <dgm:cxn modelId="{F8767639-A61D-4468-BB87-1BD34A28C7FA}" type="presOf" srcId="{6CA5B9D3-16C1-4CE5-8199-DCCC828A5841}" destId="{887BE0F1-1F8C-4B28-9D5E-FA391E21F9B4}" srcOrd="0" destOrd="0" presId="urn:microsoft.com/office/officeart/2005/8/layout/vList2"/>
    <dgm:cxn modelId="{C7EC4E4D-DD2D-4713-97C9-98DCF11B7F1C}" srcId="{15A7774C-B622-4F48-8F7B-AF1AAB74E997}" destId="{B105F0CF-C4C6-441C-A1AD-C17B5D76B95A}" srcOrd="3" destOrd="0" parTransId="{75E4212B-5732-40FB-842E-3DA8D95093B5}" sibTransId="{C8494E72-F46A-4FD0-A6B7-B726B397C913}"/>
    <dgm:cxn modelId="{8A922389-884F-436F-AF65-DCA32B874171}" type="presOf" srcId="{B105F0CF-C4C6-441C-A1AD-C17B5D76B95A}" destId="{62932160-E06A-4525-89FE-369F18EAB9AC}"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C775C0B5-FB61-44D8-8FC1-C02A91352E24}" srcId="{15A7774C-B622-4F48-8F7B-AF1AAB74E997}" destId="{1847D74D-0E59-4C38-8B08-35A20202169B}" srcOrd="2" destOrd="0" parTransId="{1230DADA-0D02-4E49-92BB-36EC892C0FE4}" sibTransId="{D5A4DE77-F601-4410-AF3F-500EA6CB606B}"/>
    <dgm:cxn modelId="{4B8873D4-C064-48F1-BC83-6BE13B19BA85}" type="presOf" srcId="{1847D74D-0E59-4C38-8B08-35A20202169B}" destId="{5E322BD9-1FCD-48EF-845C-3576961322B2}"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EABEBA59-A97B-4BD0-8FF4-3780285EE5EC}" type="presParOf" srcId="{97400BD5-14CE-4761-8A6A-64BC46D23158}" destId="{887BE0F1-1F8C-4B28-9D5E-FA391E21F9B4}" srcOrd="2" destOrd="0" presId="urn:microsoft.com/office/officeart/2005/8/layout/vList2"/>
    <dgm:cxn modelId="{2F67C875-5CEE-476F-90E2-9725728177B3}" type="presParOf" srcId="{97400BD5-14CE-4761-8A6A-64BC46D23158}" destId="{74637049-5207-4E60-9D62-CF91923C4F57}" srcOrd="3" destOrd="0" presId="urn:microsoft.com/office/officeart/2005/8/layout/vList2"/>
    <dgm:cxn modelId="{104769D7-F2FB-4D99-9390-43FCB2535BA9}" type="presParOf" srcId="{97400BD5-14CE-4761-8A6A-64BC46D23158}" destId="{5E322BD9-1FCD-48EF-845C-3576961322B2}" srcOrd="4" destOrd="0" presId="urn:microsoft.com/office/officeart/2005/8/layout/vList2"/>
    <dgm:cxn modelId="{F65BB19F-5470-4A66-B3F9-D5C12975CE3E}" type="presParOf" srcId="{97400BD5-14CE-4761-8A6A-64BC46D23158}" destId="{9A405829-63A1-4324-A1B3-A4ED0D6130DA}" srcOrd="5" destOrd="0" presId="urn:microsoft.com/office/officeart/2005/8/layout/vList2"/>
    <dgm:cxn modelId="{AD516EA4-195E-4F13-98B0-C3C3E7EDFFB9}" type="presParOf" srcId="{97400BD5-14CE-4761-8A6A-64BC46D23158}" destId="{62932160-E06A-4525-89FE-369F18EAB9AC}"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D81B26B-3B15-4418-9670-A31F9BBDC3E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03760F2-25D7-4C48-B8D3-377230D61445}">
      <dgm:prSet/>
      <dgm:spPr/>
      <dgm:t>
        <a:bodyPr/>
        <a:lstStyle/>
        <a:p>
          <a:r>
            <a:rPr lang="en-US" dirty="0"/>
            <a:t>A database is composed by at least two operating system files:</a:t>
          </a:r>
        </a:p>
      </dgm:t>
    </dgm:pt>
    <dgm:pt modelId="{7993977A-3D8B-47AF-B855-998B687C9219}" type="parTrans" cxnId="{33DA03BF-4A38-47F6-B3AA-387F94B93729}">
      <dgm:prSet/>
      <dgm:spPr/>
      <dgm:t>
        <a:bodyPr/>
        <a:lstStyle/>
        <a:p>
          <a:endParaRPr lang="en-US"/>
        </a:p>
      </dgm:t>
    </dgm:pt>
    <dgm:pt modelId="{B0BE4382-5F2B-4B93-81A4-FE4733B8DB99}" type="sibTrans" cxnId="{33DA03BF-4A38-47F6-B3AA-387F94B93729}">
      <dgm:prSet/>
      <dgm:spPr/>
      <dgm:t>
        <a:bodyPr/>
        <a:lstStyle/>
        <a:p>
          <a:endParaRPr lang="en-US"/>
        </a:p>
      </dgm:t>
    </dgm:pt>
    <dgm:pt modelId="{BCD42CE4-4E16-4446-9E25-E4EA0044D4D3}">
      <dgm:prSet/>
      <dgm:spPr/>
      <dgm:t>
        <a:bodyPr/>
        <a:lstStyle/>
        <a:p>
          <a:r>
            <a:rPr lang="en-US" dirty="0"/>
            <a:t>Data files</a:t>
          </a:r>
        </a:p>
      </dgm:t>
    </dgm:pt>
    <dgm:pt modelId="{2518EF33-AD7D-47E5-8501-ABE98AFC0C7D}" type="parTrans" cxnId="{51B03B64-3ED5-4330-AC56-1E641D31F8B9}">
      <dgm:prSet/>
      <dgm:spPr/>
      <dgm:t>
        <a:bodyPr/>
        <a:lstStyle/>
        <a:p>
          <a:endParaRPr lang="en-US"/>
        </a:p>
      </dgm:t>
    </dgm:pt>
    <dgm:pt modelId="{FA43A10B-75D7-41F6-B4C0-4B29C5418083}" type="sibTrans" cxnId="{51B03B64-3ED5-4330-AC56-1E641D31F8B9}">
      <dgm:prSet/>
      <dgm:spPr/>
      <dgm:t>
        <a:bodyPr/>
        <a:lstStyle/>
        <a:p>
          <a:endParaRPr lang="en-US"/>
        </a:p>
      </dgm:t>
    </dgm:pt>
    <dgm:pt modelId="{E73B0EB5-F1F5-4CCA-8B02-CC34067A5A10}">
      <dgm:prSet/>
      <dgm:spPr/>
      <dgm:t>
        <a:bodyPr/>
        <a:lstStyle/>
        <a:p>
          <a:r>
            <a:rPr lang="en-US" dirty="0"/>
            <a:t>Contain database objects and data</a:t>
          </a:r>
        </a:p>
      </dgm:t>
    </dgm:pt>
    <dgm:pt modelId="{A47016F0-D940-47F1-B62C-7F0C6F0C6345}" type="parTrans" cxnId="{C8C0E4D8-A6BE-4C4E-A25A-726D11F01B54}">
      <dgm:prSet/>
      <dgm:spPr/>
      <dgm:t>
        <a:bodyPr/>
        <a:lstStyle/>
        <a:p>
          <a:endParaRPr lang="en-US"/>
        </a:p>
      </dgm:t>
    </dgm:pt>
    <dgm:pt modelId="{F44353AF-B651-4ACF-88B6-79690122A2B3}" type="sibTrans" cxnId="{C8C0E4D8-A6BE-4C4E-A25A-726D11F01B54}">
      <dgm:prSet/>
      <dgm:spPr/>
      <dgm:t>
        <a:bodyPr/>
        <a:lstStyle/>
        <a:p>
          <a:endParaRPr lang="en-US"/>
        </a:p>
      </dgm:t>
    </dgm:pt>
    <dgm:pt modelId="{52E839E9-03A4-47B2-9DFF-D3018A1BA1D1}">
      <dgm:prSet/>
      <dgm:spPr/>
      <dgm:t>
        <a:bodyPr/>
        <a:lstStyle/>
        <a:p>
          <a:r>
            <a:rPr lang="en-US" dirty="0"/>
            <a:t>Can be grouped together in filegroups for allocation and administration purposes</a:t>
          </a:r>
        </a:p>
      </dgm:t>
    </dgm:pt>
    <dgm:pt modelId="{FB5E93CD-FC88-4971-A08F-A863BD68E79D}" type="parTrans" cxnId="{F6F1A93A-84CC-4E9E-A124-B486C89C8D6C}">
      <dgm:prSet/>
      <dgm:spPr/>
      <dgm:t>
        <a:bodyPr/>
        <a:lstStyle/>
        <a:p>
          <a:endParaRPr lang="en-US"/>
        </a:p>
      </dgm:t>
    </dgm:pt>
    <dgm:pt modelId="{B6444332-7A27-4307-AEE9-C4EB922A1042}" type="sibTrans" cxnId="{F6F1A93A-84CC-4E9E-A124-B486C89C8D6C}">
      <dgm:prSet/>
      <dgm:spPr/>
      <dgm:t>
        <a:bodyPr/>
        <a:lstStyle/>
        <a:p>
          <a:endParaRPr lang="en-US"/>
        </a:p>
      </dgm:t>
    </dgm:pt>
    <dgm:pt modelId="{7AB436EC-1511-4B20-A185-D24FBAE0837C}">
      <dgm:prSet/>
      <dgm:spPr/>
      <dgm:t>
        <a:bodyPr/>
        <a:lstStyle/>
        <a:p>
          <a:r>
            <a:rPr lang="en-US" dirty="0"/>
            <a:t>Log file</a:t>
          </a:r>
        </a:p>
      </dgm:t>
    </dgm:pt>
    <dgm:pt modelId="{999FEA1B-A5CE-40FD-B189-CF52F1218942}" type="parTrans" cxnId="{C6F67952-BBD3-4659-A024-1FB4641D3321}">
      <dgm:prSet/>
      <dgm:spPr/>
      <dgm:t>
        <a:bodyPr/>
        <a:lstStyle/>
        <a:p>
          <a:endParaRPr lang="en-US"/>
        </a:p>
      </dgm:t>
    </dgm:pt>
    <dgm:pt modelId="{19315950-BD64-4B4E-BA61-82935FF3909F}" type="sibTrans" cxnId="{C6F67952-BBD3-4659-A024-1FB4641D3321}">
      <dgm:prSet/>
      <dgm:spPr/>
      <dgm:t>
        <a:bodyPr/>
        <a:lstStyle/>
        <a:p>
          <a:endParaRPr lang="en-US"/>
        </a:p>
      </dgm:t>
    </dgm:pt>
    <dgm:pt modelId="{0EB9E2CA-BBD7-42E5-A9B0-8F631DF7BE78}">
      <dgm:prSet/>
      <dgm:spPr/>
      <dgm:t>
        <a:bodyPr/>
        <a:lstStyle/>
        <a:p>
          <a:r>
            <a:rPr lang="en-US" dirty="0"/>
            <a:t>A database may have additional data files, known as secondary data files. They use .ndf extension</a:t>
          </a:r>
        </a:p>
      </dgm:t>
    </dgm:pt>
    <dgm:pt modelId="{12ECE859-1D79-4BEB-BFAC-9CB3A9821025}" type="parTrans" cxnId="{A5B2B317-E975-4B48-9360-0E3F1F75A9C0}">
      <dgm:prSet/>
      <dgm:spPr/>
      <dgm:t>
        <a:bodyPr/>
        <a:lstStyle/>
        <a:p>
          <a:endParaRPr lang="en-US"/>
        </a:p>
      </dgm:t>
    </dgm:pt>
    <dgm:pt modelId="{42ACAADF-6C66-4925-881B-AC66AB2BD31E}" type="sibTrans" cxnId="{A5B2B317-E975-4B48-9360-0E3F1F75A9C0}">
      <dgm:prSet/>
      <dgm:spPr/>
      <dgm:t>
        <a:bodyPr/>
        <a:lstStyle/>
        <a:p>
          <a:endParaRPr lang="en-US"/>
        </a:p>
      </dgm:t>
    </dgm:pt>
    <dgm:pt modelId="{65E16B3D-7379-4C35-8241-9B99A3AFCDCE}">
      <dgm:prSet/>
      <dgm:spPr/>
      <dgm:t>
        <a:bodyPr/>
        <a:lstStyle/>
        <a:p>
          <a:r>
            <a:rPr lang="en-US" dirty="0"/>
            <a:t>Contain Log Records and entries are sequenced</a:t>
          </a:r>
        </a:p>
      </dgm:t>
    </dgm:pt>
    <dgm:pt modelId="{67D1DBAF-DCE9-4867-9B81-97FF773A9C30}" type="parTrans" cxnId="{6059A113-B05C-403A-B697-828057A6A07F}">
      <dgm:prSet/>
      <dgm:spPr/>
      <dgm:t>
        <a:bodyPr/>
        <a:lstStyle/>
        <a:p>
          <a:endParaRPr lang="en-US"/>
        </a:p>
      </dgm:t>
    </dgm:pt>
    <dgm:pt modelId="{51B42B65-123B-4F5C-9E77-DB6905DB216A}" type="sibTrans" cxnId="{6059A113-B05C-403A-B697-828057A6A07F}">
      <dgm:prSet/>
      <dgm:spPr/>
      <dgm:t>
        <a:bodyPr/>
        <a:lstStyle/>
        <a:p>
          <a:endParaRPr lang="en-US"/>
        </a:p>
      </dgm:t>
    </dgm:pt>
    <dgm:pt modelId="{4FF9725E-CB28-4646-A41B-2DCB3317AE6F}">
      <dgm:prSet/>
      <dgm:spPr/>
      <dgm:t>
        <a:bodyPr/>
        <a:lstStyle/>
        <a:p>
          <a:r>
            <a:rPr lang="en-US" dirty="0"/>
            <a:t>First data file is called primary data file. This file has a .mdf extension</a:t>
          </a:r>
        </a:p>
      </dgm:t>
    </dgm:pt>
    <dgm:pt modelId="{3F135FCF-A7C5-4AAD-A87C-412D063D63CF}" type="parTrans" cxnId="{4052E850-5798-4B46-B3FF-17F9AE9F0D14}">
      <dgm:prSet/>
      <dgm:spPr/>
      <dgm:t>
        <a:bodyPr/>
        <a:lstStyle/>
        <a:p>
          <a:endParaRPr lang="en-US"/>
        </a:p>
      </dgm:t>
    </dgm:pt>
    <dgm:pt modelId="{95866745-B29C-47C5-80F1-8C99BCCE19C4}" type="sibTrans" cxnId="{4052E850-5798-4B46-B3FF-17F9AE9F0D14}">
      <dgm:prSet/>
      <dgm:spPr/>
      <dgm:t>
        <a:bodyPr/>
        <a:lstStyle/>
        <a:p>
          <a:endParaRPr lang="en-US"/>
        </a:p>
      </dgm:t>
    </dgm:pt>
    <dgm:pt modelId="{21EB4E1B-04A7-4016-8DD9-B85D87A341DD}" type="pres">
      <dgm:prSet presAssocID="{CD81B26B-3B15-4418-9670-A31F9BBDC3E4}" presName="linear" presStyleCnt="0">
        <dgm:presLayoutVars>
          <dgm:animLvl val="lvl"/>
          <dgm:resizeHandles val="exact"/>
        </dgm:presLayoutVars>
      </dgm:prSet>
      <dgm:spPr/>
    </dgm:pt>
    <dgm:pt modelId="{1AC217E3-5BA1-4C5B-BCFE-A606E3CB7135}" type="pres">
      <dgm:prSet presAssocID="{603760F2-25D7-4C48-B8D3-377230D61445}" presName="parentText" presStyleLbl="node1" presStyleIdx="0" presStyleCnt="3">
        <dgm:presLayoutVars>
          <dgm:chMax val="0"/>
          <dgm:bulletEnabled val="1"/>
        </dgm:presLayoutVars>
      </dgm:prSet>
      <dgm:spPr/>
    </dgm:pt>
    <dgm:pt modelId="{8F4678D9-DF8D-426A-A841-8B1195F531A5}" type="pres">
      <dgm:prSet presAssocID="{B0BE4382-5F2B-4B93-81A4-FE4733B8DB99}" presName="spacer" presStyleCnt="0"/>
      <dgm:spPr/>
    </dgm:pt>
    <dgm:pt modelId="{286819B0-3CDE-42B1-B9B9-D2DA7146196D}" type="pres">
      <dgm:prSet presAssocID="{BCD42CE4-4E16-4446-9E25-E4EA0044D4D3}" presName="parentText" presStyleLbl="node1" presStyleIdx="1" presStyleCnt="3">
        <dgm:presLayoutVars>
          <dgm:chMax val="0"/>
          <dgm:bulletEnabled val="1"/>
        </dgm:presLayoutVars>
      </dgm:prSet>
      <dgm:spPr/>
    </dgm:pt>
    <dgm:pt modelId="{44B37A3C-6AFE-4AB1-B130-30513727D5FC}" type="pres">
      <dgm:prSet presAssocID="{BCD42CE4-4E16-4446-9E25-E4EA0044D4D3}" presName="childText" presStyleLbl="revTx" presStyleIdx="0" presStyleCnt="2">
        <dgm:presLayoutVars>
          <dgm:bulletEnabled val="1"/>
        </dgm:presLayoutVars>
      </dgm:prSet>
      <dgm:spPr/>
    </dgm:pt>
    <dgm:pt modelId="{7969BC1D-ABFD-46B4-A383-922D6CF9157C}" type="pres">
      <dgm:prSet presAssocID="{7AB436EC-1511-4B20-A185-D24FBAE0837C}" presName="parentText" presStyleLbl="node1" presStyleIdx="2" presStyleCnt="3">
        <dgm:presLayoutVars>
          <dgm:chMax val="0"/>
          <dgm:bulletEnabled val="1"/>
        </dgm:presLayoutVars>
      </dgm:prSet>
      <dgm:spPr/>
    </dgm:pt>
    <dgm:pt modelId="{FA9B3665-96F6-47D7-A849-39010078AB1F}" type="pres">
      <dgm:prSet presAssocID="{7AB436EC-1511-4B20-A185-D24FBAE0837C}" presName="childText" presStyleLbl="revTx" presStyleIdx="1" presStyleCnt="2">
        <dgm:presLayoutVars>
          <dgm:bulletEnabled val="1"/>
        </dgm:presLayoutVars>
      </dgm:prSet>
      <dgm:spPr/>
    </dgm:pt>
  </dgm:ptLst>
  <dgm:cxnLst>
    <dgm:cxn modelId="{5A575D0C-248E-4944-AC9D-CC788F9788C5}" type="presOf" srcId="{7AB436EC-1511-4B20-A185-D24FBAE0837C}" destId="{7969BC1D-ABFD-46B4-A383-922D6CF9157C}" srcOrd="0" destOrd="0" presId="urn:microsoft.com/office/officeart/2005/8/layout/vList2"/>
    <dgm:cxn modelId="{6059A113-B05C-403A-B697-828057A6A07F}" srcId="{7AB436EC-1511-4B20-A185-D24FBAE0837C}" destId="{65E16B3D-7379-4C35-8241-9B99A3AFCDCE}" srcOrd="0" destOrd="0" parTransId="{67D1DBAF-DCE9-4867-9B81-97FF773A9C30}" sibTransId="{51B42B65-123B-4F5C-9E77-DB6905DB216A}"/>
    <dgm:cxn modelId="{A5B2B317-E975-4B48-9360-0E3F1F75A9C0}" srcId="{BCD42CE4-4E16-4446-9E25-E4EA0044D4D3}" destId="{0EB9E2CA-BBD7-42E5-A9B0-8F631DF7BE78}" srcOrd="2" destOrd="0" parTransId="{12ECE859-1D79-4BEB-BFAC-9CB3A9821025}" sibTransId="{42ACAADF-6C66-4925-881B-AC66AB2BD31E}"/>
    <dgm:cxn modelId="{628C493A-E9F4-42F6-8224-B7001AEF9651}" type="presOf" srcId="{52E839E9-03A4-47B2-9DFF-D3018A1BA1D1}" destId="{44B37A3C-6AFE-4AB1-B130-30513727D5FC}" srcOrd="0" destOrd="3" presId="urn:microsoft.com/office/officeart/2005/8/layout/vList2"/>
    <dgm:cxn modelId="{F6F1A93A-84CC-4E9E-A124-B486C89C8D6C}" srcId="{BCD42CE4-4E16-4446-9E25-E4EA0044D4D3}" destId="{52E839E9-03A4-47B2-9DFF-D3018A1BA1D1}" srcOrd="3" destOrd="0" parTransId="{FB5E93CD-FC88-4971-A08F-A863BD68E79D}" sibTransId="{B6444332-7A27-4307-AEE9-C4EB922A1042}"/>
    <dgm:cxn modelId="{B1A6D95F-5B6A-4C7D-9F39-997295B21ABE}" type="presOf" srcId="{E73B0EB5-F1F5-4CCA-8B02-CC34067A5A10}" destId="{44B37A3C-6AFE-4AB1-B130-30513727D5FC}" srcOrd="0" destOrd="0" presId="urn:microsoft.com/office/officeart/2005/8/layout/vList2"/>
    <dgm:cxn modelId="{51B03B64-3ED5-4330-AC56-1E641D31F8B9}" srcId="{CD81B26B-3B15-4418-9670-A31F9BBDC3E4}" destId="{BCD42CE4-4E16-4446-9E25-E4EA0044D4D3}" srcOrd="1" destOrd="0" parTransId="{2518EF33-AD7D-47E5-8501-ABE98AFC0C7D}" sibTransId="{FA43A10B-75D7-41F6-B4C0-4B29C5418083}"/>
    <dgm:cxn modelId="{1E0BCF66-9728-427C-9172-378E738AFB0A}" type="presOf" srcId="{BCD42CE4-4E16-4446-9E25-E4EA0044D4D3}" destId="{286819B0-3CDE-42B1-B9B9-D2DA7146196D}" srcOrd="0" destOrd="0" presId="urn:microsoft.com/office/officeart/2005/8/layout/vList2"/>
    <dgm:cxn modelId="{3442D267-6D5E-4876-8881-300E40FC54C7}" type="presOf" srcId="{CD81B26B-3B15-4418-9670-A31F9BBDC3E4}" destId="{21EB4E1B-04A7-4016-8DD9-B85D87A341DD}" srcOrd="0" destOrd="0" presId="urn:microsoft.com/office/officeart/2005/8/layout/vList2"/>
    <dgm:cxn modelId="{23EEE06D-92F6-4543-83FF-A6E6648E365B}" type="presOf" srcId="{0EB9E2CA-BBD7-42E5-A9B0-8F631DF7BE78}" destId="{44B37A3C-6AFE-4AB1-B130-30513727D5FC}" srcOrd="0" destOrd="2" presId="urn:microsoft.com/office/officeart/2005/8/layout/vList2"/>
    <dgm:cxn modelId="{4052E850-5798-4B46-B3FF-17F9AE9F0D14}" srcId="{BCD42CE4-4E16-4446-9E25-E4EA0044D4D3}" destId="{4FF9725E-CB28-4646-A41B-2DCB3317AE6F}" srcOrd="1" destOrd="0" parTransId="{3F135FCF-A7C5-4AAD-A87C-412D063D63CF}" sibTransId="{95866745-B29C-47C5-80F1-8C99BCCE19C4}"/>
    <dgm:cxn modelId="{EA260672-CF2B-4E94-AFEE-DC58F8B2437B}" type="presOf" srcId="{65E16B3D-7379-4C35-8241-9B99A3AFCDCE}" destId="{FA9B3665-96F6-47D7-A849-39010078AB1F}" srcOrd="0" destOrd="0" presId="urn:microsoft.com/office/officeart/2005/8/layout/vList2"/>
    <dgm:cxn modelId="{C6F67952-BBD3-4659-A024-1FB4641D3321}" srcId="{CD81B26B-3B15-4418-9670-A31F9BBDC3E4}" destId="{7AB436EC-1511-4B20-A185-D24FBAE0837C}" srcOrd="2" destOrd="0" parTransId="{999FEA1B-A5CE-40FD-B189-CF52F1218942}" sibTransId="{19315950-BD64-4B4E-BA61-82935FF3909F}"/>
    <dgm:cxn modelId="{9BA19CAD-59D3-40B3-8CD9-E04576EEBE91}" type="presOf" srcId="{4FF9725E-CB28-4646-A41B-2DCB3317AE6F}" destId="{44B37A3C-6AFE-4AB1-B130-30513727D5FC}" srcOrd="0" destOrd="1" presId="urn:microsoft.com/office/officeart/2005/8/layout/vList2"/>
    <dgm:cxn modelId="{33DA03BF-4A38-47F6-B3AA-387F94B93729}" srcId="{CD81B26B-3B15-4418-9670-A31F9BBDC3E4}" destId="{603760F2-25D7-4C48-B8D3-377230D61445}" srcOrd="0" destOrd="0" parTransId="{7993977A-3D8B-47AF-B855-998B687C9219}" sibTransId="{B0BE4382-5F2B-4B93-81A4-FE4733B8DB99}"/>
    <dgm:cxn modelId="{C8C0E4D8-A6BE-4C4E-A25A-726D11F01B54}" srcId="{BCD42CE4-4E16-4446-9E25-E4EA0044D4D3}" destId="{E73B0EB5-F1F5-4CCA-8B02-CC34067A5A10}" srcOrd="0" destOrd="0" parTransId="{A47016F0-D940-47F1-B62C-7F0C6F0C6345}" sibTransId="{F44353AF-B651-4ACF-88B6-79690122A2B3}"/>
    <dgm:cxn modelId="{FB8CE7DF-B8E0-4914-95E7-B551E14E7945}" type="presOf" srcId="{603760F2-25D7-4C48-B8D3-377230D61445}" destId="{1AC217E3-5BA1-4C5B-BCFE-A606E3CB7135}" srcOrd="0" destOrd="0" presId="urn:microsoft.com/office/officeart/2005/8/layout/vList2"/>
    <dgm:cxn modelId="{B121B4FD-932B-41EB-ADC9-6BA42E08FD22}" type="presParOf" srcId="{21EB4E1B-04A7-4016-8DD9-B85D87A341DD}" destId="{1AC217E3-5BA1-4C5B-BCFE-A606E3CB7135}" srcOrd="0" destOrd="0" presId="urn:microsoft.com/office/officeart/2005/8/layout/vList2"/>
    <dgm:cxn modelId="{8ED6756D-580E-42B4-AF2D-7324E5E6D39D}" type="presParOf" srcId="{21EB4E1B-04A7-4016-8DD9-B85D87A341DD}" destId="{8F4678D9-DF8D-426A-A841-8B1195F531A5}" srcOrd="1" destOrd="0" presId="urn:microsoft.com/office/officeart/2005/8/layout/vList2"/>
    <dgm:cxn modelId="{0E357956-8F7D-481B-A55C-85937FBA8DA1}" type="presParOf" srcId="{21EB4E1B-04A7-4016-8DD9-B85D87A341DD}" destId="{286819B0-3CDE-42B1-B9B9-D2DA7146196D}" srcOrd="2" destOrd="0" presId="urn:microsoft.com/office/officeart/2005/8/layout/vList2"/>
    <dgm:cxn modelId="{6DC42036-EE1E-490E-9BA0-673D59C1FEDD}" type="presParOf" srcId="{21EB4E1B-04A7-4016-8DD9-B85D87A341DD}" destId="{44B37A3C-6AFE-4AB1-B130-30513727D5FC}" srcOrd="3" destOrd="0" presId="urn:microsoft.com/office/officeart/2005/8/layout/vList2"/>
    <dgm:cxn modelId="{C15CBE8C-AFFD-4DBD-A4F6-2353915BE370}" type="presParOf" srcId="{21EB4E1B-04A7-4016-8DD9-B85D87A341DD}" destId="{7969BC1D-ABFD-46B4-A383-922D6CF9157C}" srcOrd="4" destOrd="0" presId="urn:microsoft.com/office/officeart/2005/8/layout/vList2"/>
    <dgm:cxn modelId="{0203F606-7D2A-42F3-B486-855F0C8BFF1F}" type="presParOf" srcId="{21EB4E1B-04A7-4016-8DD9-B85D87A341DD}" destId="{FA9B3665-96F6-47D7-A849-39010078AB1F}"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265FA74-4C76-4AA5-B436-B0DA5FA08A33}"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B2D613BE-44ED-4833-A9C1-1A3BE887CEBE}">
      <dgm:prSet custT="1"/>
      <dgm:spPr/>
      <dgm:t>
        <a:bodyPr/>
        <a:lstStyle/>
        <a:p>
          <a:r>
            <a:rPr lang="en-US" sz="2800" dirty="0">
              <a:latin typeface="Segoe UI" panose="020B0502040204020203" pitchFamily="34" charset="0"/>
            </a:rPr>
            <a:t>Data Files</a:t>
          </a:r>
        </a:p>
      </dgm:t>
    </dgm:pt>
    <dgm:pt modelId="{3965E237-C7E4-4A20-BCD9-6BB907E081F9}" type="parTrans" cxnId="{1289DB03-00B4-4472-922B-68F16F2AB9BC}">
      <dgm:prSet/>
      <dgm:spPr/>
      <dgm:t>
        <a:bodyPr/>
        <a:lstStyle/>
        <a:p>
          <a:endParaRPr lang="en-US"/>
        </a:p>
      </dgm:t>
    </dgm:pt>
    <dgm:pt modelId="{5A095DA0-BA45-4129-9099-CDE77A90D268}" type="sibTrans" cxnId="{1289DB03-00B4-4472-922B-68F16F2AB9BC}">
      <dgm:prSet/>
      <dgm:spPr/>
      <dgm:t>
        <a:bodyPr/>
        <a:lstStyle/>
        <a:p>
          <a:endParaRPr lang="en-US"/>
        </a:p>
      </dgm:t>
    </dgm:pt>
    <dgm:pt modelId="{AF1836AC-7D07-449B-AB63-444B0C1EDD19}">
      <dgm:prSet custT="1"/>
      <dgm:spPr/>
      <dgm:t>
        <a:bodyPr/>
        <a:lstStyle/>
        <a:p>
          <a:r>
            <a:rPr lang="en-US" sz="2000" dirty="0">
              <a:latin typeface="Segoe UI" panose="020B0502040204020203" pitchFamily="34" charset="0"/>
            </a:rPr>
            <a:t>May have one or more .ndf file</a:t>
          </a:r>
        </a:p>
      </dgm:t>
    </dgm:pt>
    <dgm:pt modelId="{D8BE3A34-97EA-46E4-B257-664ABFA0F60A}" type="parTrans" cxnId="{CA32B810-DA98-4660-97C4-7D04921538DC}">
      <dgm:prSet/>
      <dgm:spPr/>
      <dgm:t>
        <a:bodyPr/>
        <a:lstStyle/>
        <a:p>
          <a:endParaRPr lang="en-US"/>
        </a:p>
      </dgm:t>
    </dgm:pt>
    <dgm:pt modelId="{045EA307-7B0D-483E-84BE-F724F82314A1}" type="sibTrans" cxnId="{CA32B810-DA98-4660-97C4-7D04921538DC}">
      <dgm:prSet/>
      <dgm:spPr/>
      <dgm:t>
        <a:bodyPr/>
        <a:lstStyle/>
        <a:p>
          <a:endParaRPr lang="en-US"/>
        </a:p>
      </dgm:t>
    </dgm:pt>
    <dgm:pt modelId="{29710608-8D64-4162-8836-026682D7462C}">
      <dgm:prSet custT="1"/>
      <dgm:spPr/>
      <dgm:t>
        <a:bodyPr/>
        <a:lstStyle/>
        <a:p>
          <a:r>
            <a:rPr lang="en-US" sz="2000" dirty="0">
              <a:latin typeface="Segoe UI" panose="020B0502040204020203" pitchFamily="34" charset="0"/>
            </a:rPr>
            <a:t>Random reads and writes</a:t>
          </a:r>
        </a:p>
      </dgm:t>
    </dgm:pt>
    <dgm:pt modelId="{60754694-5BCB-4FEF-B9BF-C1B5A079EA09}" type="parTrans" cxnId="{153CA78C-D990-45D3-A244-063761487B99}">
      <dgm:prSet/>
      <dgm:spPr/>
      <dgm:t>
        <a:bodyPr/>
        <a:lstStyle/>
        <a:p>
          <a:endParaRPr lang="en-US"/>
        </a:p>
      </dgm:t>
    </dgm:pt>
    <dgm:pt modelId="{8757B622-0F5D-4520-867C-C5BABC656617}" type="sibTrans" cxnId="{153CA78C-D990-45D3-A244-063761487B99}">
      <dgm:prSet/>
      <dgm:spPr/>
      <dgm:t>
        <a:bodyPr/>
        <a:lstStyle/>
        <a:p>
          <a:endParaRPr lang="en-US"/>
        </a:p>
      </dgm:t>
    </dgm:pt>
    <dgm:pt modelId="{00309F1F-CC24-4788-8955-C6BA37756964}">
      <dgm:prSet custT="1"/>
      <dgm:spPr/>
      <dgm:t>
        <a:bodyPr/>
        <a:lstStyle/>
        <a:p>
          <a:r>
            <a:rPr lang="en-US" sz="2000" dirty="0">
              <a:latin typeface="Segoe UI" panose="020B0502040204020203" pitchFamily="34" charset="0"/>
            </a:rPr>
            <a:t>Write activity during checkpoints, recovery, and lazy writes</a:t>
          </a:r>
        </a:p>
      </dgm:t>
    </dgm:pt>
    <dgm:pt modelId="{DAAAF7D4-C2B2-4650-81C1-8FD14E93D8D5}" type="parTrans" cxnId="{1330D078-3342-46F4-AA4F-66E42B17DB23}">
      <dgm:prSet/>
      <dgm:spPr/>
      <dgm:t>
        <a:bodyPr/>
        <a:lstStyle/>
        <a:p>
          <a:endParaRPr lang="en-US"/>
        </a:p>
      </dgm:t>
    </dgm:pt>
    <dgm:pt modelId="{E1FFC08E-EA2A-45B4-93F9-54CFB0BD04E0}" type="sibTrans" cxnId="{1330D078-3342-46F4-AA4F-66E42B17DB23}">
      <dgm:prSet/>
      <dgm:spPr/>
      <dgm:t>
        <a:bodyPr/>
        <a:lstStyle/>
        <a:p>
          <a:endParaRPr lang="en-US"/>
        </a:p>
      </dgm:t>
    </dgm:pt>
    <dgm:pt modelId="{8DB25616-5232-42A4-9BE5-ABCD1363E09D}">
      <dgm:prSet custT="1"/>
      <dgm:spPr/>
      <dgm:t>
        <a:bodyPr/>
        <a:lstStyle/>
        <a:p>
          <a:r>
            <a:rPr lang="en-US" sz="2000" dirty="0">
              <a:latin typeface="Segoe UI" panose="020B0502040204020203" pitchFamily="34" charset="0"/>
            </a:rPr>
            <a:t>One .mdf file per database</a:t>
          </a:r>
        </a:p>
      </dgm:t>
    </dgm:pt>
    <dgm:pt modelId="{E1B92534-C2BE-4A7F-B9C3-E34CD7C0DEBA}" type="parTrans" cxnId="{E6618198-8692-460B-97AE-25FE9F2500E0}">
      <dgm:prSet/>
      <dgm:spPr/>
      <dgm:t>
        <a:bodyPr/>
        <a:lstStyle/>
        <a:p>
          <a:endParaRPr lang="en-US"/>
        </a:p>
      </dgm:t>
    </dgm:pt>
    <dgm:pt modelId="{572A957B-304A-4B92-AD4A-07FDE0888AA2}" type="sibTrans" cxnId="{E6618198-8692-460B-97AE-25FE9F2500E0}">
      <dgm:prSet/>
      <dgm:spPr/>
      <dgm:t>
        <a:bodyPr/>
        <a:lstStyle/>
        <a:p>
          <a:endParaRPr lang="en-US"/>
        </a:p>
      </dgm:t>
    </dgm:pt>
    <dgm:pt modelId="{65FAD969-BCC5-4250-8D1D-9BD8D06CAFA2}">
      <dgm:prSet custT="1"/>
      <dgm:spPr/>
      <dgm:t>
        <a:bodyPr/>
        <a:lstStyle/>
        <a:p>
          <a:r>
            <a:rPr lang="en-US" sz="2000" dirty="0">
              <a:latin typeface="Segoe UI" panose="020B0502040204020203" pitchFamily="34" charset="0"/>
            </a:rPr>
            <a:t>Read activity during backups; other activity varies depending on query activity and buffer pool size</a:t>
          </a:r>
        </a:p>
      </dgm:t>
    </dgm:pt>
    <dgm:pt modelId="{B3D3773D-034C-4B19-8DCD-9BDD0FE2D530}" type="parTrans" cxnId="{8602A2E9-B1AD-4514-8E0F-ABB4E334DB96}">
      <dgm:prSet/>
      <dgm:spPr/>
      <dgm:t>
        <a:bodyPr/>
        <a:lstStyle/>
        <a:p>
          <a:endParaRPr lang="en-US"/>
        </a:p>
      </dgm:t>
    </dgm:pt>
    <dgm:pt modelId="{0926FEC1-80E0-4CD4-A85C-B1A2F6D92D5F}" type="sibTrans" cxnId="{8602A2E9-B1AD-4514-8E0F-ABB4E334DB96}">
      <dgm:prSet/>
      <dgm:spPr/>
      <dgm:t>
        <a:bodyPr/>
        <a:lstStyle/>
        <a:p>
          <a:endParaRPr lang="en-US"/>
        </a:p>
      </dgm:t>
    </dgm:pt>
    <dgm:pt modelId="{56B8FEBF-7534-4989-B5EE-29BA6BD5ADFE}">
      <dgm:prSet custT="1"/>
      <dgm:spPr/>
      <dgm:t>
        <a:bodyPr/>
        <a:lstStyle/>
        <a:p>
          <a:r>
            <a:rPr lang="en-US" sz="2800" baseline="0" dirty="0">
              <a:latin typeface="Segoe UI" panose="020B0502040204020203" pitchFamily="34" charset="0"/>
            </a:rPr>
            <a:t>Log Files</a:t>
          </a:r>
          <a:endParaRPr lang="en-US" sz="2800" dirty="0">
            <a:latin typeface="Segoe UI" panose="020B0502040204020203" pitchFamily="34" charset="0"/>
          </a:endParaRPr>
        </a:p>
      </dgm:t>
    </dgm:pt>
    <dgm:pt modelId="{5AACDA45-AC67-4560-A4B6-90267679CDDA}" type="parTrans" cxnId="{1DB0BA69-1DA9-4A81-A3FB-813785402A43}">
      <dgm:prSet/>
      <dgm:spPr/>
      <dgm:t>
        <a:bodyPr/>
        <a:lstStyle/>
        <a:p>
          <a:endParaRPr lang="en-US"/>
        </a:p>
      </dgm:t>
    </dgm:pt>
    <dgm:pt modelId="{1DC2C067-8DBC-4FC6-B1B5-3ECFF65DF59E}" type="sibTrans" cxnId="{1DB0BA69-1DA9-4A81-A3FB-813785402A43}">
      <dgm:prSet/>
      <dgm:spPr/>
      <dgm:t>
        <a:bodyPr/>
        <a:lstStyle/>
        <a:p>
          <a:endParaRPr lang="en-US"/>
        </a:p>
      </dgm:t>
    </dgm:pt>
    <dgm:pt modelId="{0BC564E0-FF71-4F18-9DD8-5BC81FD4C643}">
      <dgm:prSet custT="1"/>
      <dgm:spPr/>
      <dgm:t>
        <a:bodyPr/>
        <a:lstStyle/>
        <a:p>
          <a:r>
            <a:rPr lang="en-US" sz="2000" baseline="0" dirty="0">
              <a:latin typeface="Segoe UI" panose="020B0502040204020203" pitchFamily="34" charset="0"/>
            </a:rPr>
            <a:t>One .ldf file per database</a:t>
          </a:r>
          <a:endParaRPr lang="en-US" sz="2000" dirty="0">
            <a:latin typeface="Segoe UI" panose="020B0502040204020203" pitchFamily="34" charset="0"/>
          </a:endParaRPr>
        </a:p>
      </dgm:t>
    </dgm:pt>
    <dgm:pt modelId="{0617AE1E-80E3-4C94-9052-C93C27A8943B}" type="parTrans" cxnId="{7BCF1013-38C9-48E2-972E-DBEB84C420D9}">
      <dgm:prSet/>
      <dgm:spPr/>
      <dgm:t>
        <a:bodyPr/>
        <a:lstStyle/>
        <a:p>
          <a:endParaRPr lang="en-US"/>
        </a:p>
      </dgm:t>
    </dgm:pt>
    <dgm:pt modelId="{658E58EC-50C7-486E-8F28-5391C747F232}" type="sibTrans" cxnId="{7BCF1013-38C9-48E2-972E-DBEB84C420D9}">
      <dgm:prSet/>
      <dgm:spPr/>
      <dgm:t>
        <a:bodyPr/>
        <a:lstStyle/>
        <a:p>
          <a:endParaRPr lang="en-US"/>
        </a:p>
      </dgm:t>
    </dgm:pt>
    <dgm:pt modelId="{95504391-4205-4D67-ADA0-8E80282699E7}">
      <dgm:prSet custT="1"/>
      <dgm:spPr/>
      <dgm:t>
        <a:bodyPr/>
        <a:lstStyle/>
        <a:p>
          <a:r>
            <a:rPr lang="en-US" sz="2000" baseline="0" dirty="0">
              <a:latin typeface="Segoe UI" panose="020B0502040204020203" pitchFamily="34" charset="0"/>
            </a:rPr>
            <a:t>Sequential reads and writes</a:t>
          </a:r>
          <a:endParaRPr lang="en-US" sz="2000" dirty="0">
            <a:latin typeface="Segoe UI" panose="020B0502040204020203" pitchFamily="34" charset="0"/>
          </a:endParaRPr>
        </a:p>
      </dgm:t>
    </dgm:pt>
    <dgm:pt modelId="{329209A9-4749-4CFD-A8F1-A62BA0BEE6F3}" type="parTrans" cxnId="{7C9E4CA2-17A8-4B86-9934-E0EE9A841695}">
      <dgm:prSet/>
      <dgm:spPr/>
      <dgm:t>
        <a:bodyPr/>
        <a:lstStyle/>
        <a:p>
          <a:endParaRPr lang="en-US"/>
        </a:p>
      </dgm:t>
    </dgm:pt>
    <dgm:pt modelId="{3E9C5F82-D3BC-408A-A184-E84965CBB356}" type="sibTrans" cxnId="{7C9E4CA2-17A8-4B86-9934-E0EE9A841695}">
      <dgm:prSet/>
      <dgm:spPr/>
      <dgm:t>
        <a:bodyPr/>
        <a:lstStyle/>
        <a:p>
          <a:endParaRPr lang="en-US"/>
        </a:p>
      </dgm:t>
    </dgm:pt>
    <dgm:pt modelId="{35F1FCFF-E5AD-4D87-A34D-50EF80B3603B}">
      <dgm:prSet custT="1"/>
      <dgm:spPr/>
      <dgm:t>
        <a:bodyPr/>
        <a:lstStyle/>
        <a:p>
          <a:r>
            <a:rPr lang="en-US" sz="2000" baseline="0" dirty="0">
              <a:latin typeface="Segoe UI" panose="020B0502040204020203" pitchFamily="34" charset="0"/>
            </a:rPr>
            <a:t>Write activity during the log buffer flush operations</a:t>
          </a:r>
          <a:endParaRPr lang="en-US" sz="2000" dirty="0">
            <a:latin typeface="Segoe UI" panose="020B0502040204020203" pitchFamily="34" charset="0"/>
          </a:endParaRPr>
        </a:p>
      </dgm:t>
    </dgm:pt>
    <dgm:pt modelId="{06991BED-55E1-4A8C-AF07-F96B592CFEAD}" type="parTrans" cxnId="{04F4DDFB-2D7E-434D-B431-B1B83C2D6E7A}">
      <dgm:prSet/>
      <dgm:spPr/>
      <dgm:t>
        <a:bodyPr/>
        <a:lstStyle/>
        <a:p>
          <a:endParaRPr lang="en-US"/>
        </a:p>
      </dgm:t>
    </dgm:pt>
    <dgm:pt modelId="{38154B13-898A-47A5-9197-B5E4F8E4E585}" type="sibTrans" cxnId="{04F4DDFB-2D7E-434D-B431-B1B83C2D6E7A}">
      <dgm:prSet/>
      <dgm:spPr/>
      <dgm:t>
        <a:bodyPr/>
        <a:lstStyle/>
        <a:p>
          <a:endParaRPr lang="en-US"/>
        </a:p>
      </dgm:t>
    </dgm:pt>
    <dgm:pt modelId="{0A69D568-0976-48EF-BC36-59A423252A5D}">
      <dgm:prSet custT="1"/>
      <dgm:spPr/>
      <dgm:t>
        <a:bodyPr/>
        <a:lstStyle/>
        <a:p>
          <a:r>
            <a:rPr lang="en-US" sz="2000" baseline="0" dirty="0">
              <a:latin typeface="Segoe UI" panose="020B0502040204020203" pitchFamily="34" charset="0"/>
            </a:rPr>
            <a:t>Read activity during checkpoints, backups, and recovery</a:t>
          </a:r>
          <a:endParaRPr lang="en-US" sz="2000" dirty="0">
            <a:latin typeface="Segoe UI" panose="020B0502040204020203" pitchFamily="34" charset="0"/>
          </a:endParaRPr>
        </a:p>
      </dgm:t>
    </dgm:pt>
    <dgm:pt modelId="{A345290C-AFAE-443F-A3A1-1CA9BF17F032}" type="parTrans" cxnId="{BAC3A851-B440-4496-940C-D444F6DE615F}">
      <dgm:prSet/>
      <dgm:spPr/>
      <dgm:t>
        <a:bodyPr/>
        <a:lstStyle/>
        <a:p>
          <a:endParaRPr lang="en-US"/>
        </a:p>
      </dgm:t>
    </dgm:pt>
    <dgm:pt modelId="{F205640A-0B78-4EB3-8ADD-B9ADE010060C}" type="sibTrans" cxnId="{BAC3A851-B440-4496-940C-D444F6DE615F}">
      <dgm:prSet/>
      <dgm:spPr/>
      <dgm:t>
        <a:bodyPr/>
        <a:lstStyle/>
        <a:p>
          <a:endParaRPr lang="en-US"/>
        </a:p>
      </dgm:t>
    </dgm:pt>
    <dgm:pt modelId="{1249D2CE-72BF-46F0-95D7-F163F9C26B86}">
      <dgm:prSet custT="1"/>
      <dgm:spPr/>
      <dgm:t>
        <a:bodyPr/>
        <a:lstStyle/>
        <a:p>
          <a:r>
            <a:rPr lang="en-US" sz="2000" baseline="0" dirty="0">
              <a:latin typeface="Segoe UI" panose="020B0502040204020203" pitchFamily="34" charset="0"/>
            </a:rPr>
            <a:t>Features such as Always On Availability Groups and replication will increase read and write activity</a:t>
          </a:r>
          <a:endParaRPr lang="en-US" sz="2000" dirty="0">
            <a:latin typeface="Segoe UI" panose="020B0502040204020203" pitchFamily="34" charset="0"/>
          </a:endParaRPr>
        </a:p>
      </dgm:t>
    </dgm:pt>
    <dgm:pt modelId="{09E7B9BD-8EA0-4F09-A547-9AC109925469}" type="parTrans" cxnId="{D2B2E89D-9A4C-403A-BF4A-ABDCFFADD174}">
      <dgm:prSet/>
      <dgm:spPr/>
      <dgm:t>
        <a:bodyPr/>
        <a:lstStyle/>
        <a:p>
          <a:endParaRPr lang="en-US"/>
        </a:p>
      </dgm:t>
    </dgm:pt>
    <dgm:pt modelId="{FECD3895-6FC7-4FF7-8DCD-EC9AF9E53154}" type="sibTrans" cxnId="{D2B2E89D-9A4C-403A-BF4A-ABDCFFADD174}">
      <dgm:prSet/>
      <dgm:spPr/>
      <dgm:t>
        <a:bodyPr/>
        <a:lstStyle/>
        <a:p>
          <a:endParaRPr lang="en-US"/>
        </a:p>
      </dgm:t>
    </dgm:pt>
    <dgm:pt modelId="{C79330A8-C7CF-4F2F-9B54-DCB03D6E059B}" type="pres">
      <dgm:prSet presAssocID="{7265FA74-4C76-4AA5-B436-B0DA5FA08A33}" presName="linear" presStyleCnt="0">
        <dgm:presLayoutVars>
          <dgm:dir/>
          <dgm:animLvl val="lvl"/>
          <dgm:resizeHandles val="exact"/>
        </dgm:presLayoutVars>
      </dgm:prSet>
      <dgm:spPr/>
    </dgm:pt>
    <dgm:pt modelId="{20F90FE4-1CEB-4F7B-8B11-7E52E3089E15}" type="pres">
      <dgm:prSet presAssocID="{B2D613BE-44ED-4833-A9C1-1A3BE887CEBE}" presName="parentLin" presStyleCnt="0"/>
      <dgm:spPr/>
    </dgm:pt>
    <dgm:pt modelId="{6DDD546B-02EA-4477-B6C2-401DDB38AC1C}" type="pres">
      <dgm:prSet presAssocID="{B2D613BE-44ED-4833-A9C1-1A3BE887CEBE}" presName="parentLeftMargin" presStyleLbl="node1" presStyleIdx="0" presStyleCnt="2"/>
      <dgm:spPr/>
    </dgm:pt>
    <dgm:pt modelId="{DC07B57F-D261-4639-A828-A8C83A449FA6}" type="pres">
      <dgm:prSet presAssocID="{B2D613BE-44ED-4833-A9C1-1A3BE887CEBE}" presName="parentText" presStyleLbl="node1" presStyleIdx="0" presStyleCnt="2">
        <dgm:presLayoutVars>
          <dgm:chMax val="0"/>
          <dgm:bulletEnabled val="1"/>
        </dgm:presLayoutVars>
      </dgm:prSet>
      <dgm:spPr/>
    </dgm:pt>
    <dgm:pt modelId="{9CA2E8C7-54CD-470C-B5BC-FDD32C2903EB}" type="pres">
      <dgm:prSet presAssocID="{B2D613BE-44ED-4833-A9C1-1A3BE887CEBE}" presName="negativeSpace" presStyleCnt="0"/>
      <dgm:spPr/>
    </dgm:pt>
    <dgm:pt modelId="{22276CA2-6909-480D-A02E-797D41D36A42}" type="pres">
      <dgm:prSet presAssocID="{B2D613BE-44ED-4833-A9C1-1A3BE887CEBE}" presName="childText" presStyleLbl="conFgAcc1" presStyleIdx="0" presStyleCnt="2">
        <dgm:presLayoutVars>
          <dgm:bulletEnabled val="1"/>
        </dgm:presLayoutVars>
      </dgm:prSet>
      <dgm:spPr/>
    </dgm:pt>
    <dgm:pt modelId="{C9ECD780-5BFF-4009-A410-173011D5613A}" type="pres">
      <dgm:prSet presAssocID="{5A095DA0-BA45-4129-9099-CDE77A90D268}" presName="spaceBetweenRectangles" presStyleCnt="0"/>
      <dgm:spPr/>
    </dgm:pt>
    <dgm:pt modelId="{099FEC7B-160E-4259-9F15-A6011DAA2BF9}" type="pres">
      <dgm:prSet presAssocID="{56B8FEBF-7534-4989-B5EE-29BA6BD5ADFE}" presName="parentLin" presStyleCnt="0"/>
      <dgm:spPr/>
    </dgm:pt>
    <dgm:pt modelId="{3488A31B-32C8-4E35-9D60-5405B1D3B982}" type="pres">
      <dgm:prSet presAssocID="{56B8FEBF-7534-4989-B5EE-29BA6BD5ADFE}" presName="parentLeftMargin" presStyleLbl="node1" presStyleIdx="0" presStyleCnt="2"/>
      <dgm:spPr/>
    </dgm:pt>
    <dgm:pt modelId="{E69402FC-471B-4A89-B10E-D4C4F3060E8A}" type="pres">
      <dgm:prSet presAssocID="{56B8FEBF-7534-4989-B5EE-29BA6BD5ADFE}" presName="parentText" presStyleLbl="node1" presStyleIdx="1" presStyleCnt="2">
        <dgm:presLayoutVars>
          <dgm:chMax val="0"/>
          <dgm:bulletEnabled val="1"/>
        </dgm:presLayoutVars>
      </dgm:prSet>
      <dgm:spPr/>
    </dgm:pt>
    <dgm:pt modelId="{4B39B7A3-9FA6-4D39-9B55-8AADC16CBFB5}" type="pres">
      <dgm:prSet presAssocID="{56B8FEBF-7534-4989-B5EE-29BA6BD5ADFE}" presName="negativeSpace" presStyleCnt="0"/>
      <dgm:spPr/>
    </dgm:pt>
    <dgm:pt modelId="{A5356A9C-92F2-42D9-B685-432A2513A393}" type="pres">
      <dgm:prSet presAssocID="{56B8FEBF-7534-4989-B5EE-29BA6BD5ADFE}" presName="childText" presStyleLbl="conFgAcc1" presStyleIdx="1" presStyleCnt="2">
        <dgm:presLayoutVars>
          <dgm:bulletEnabled val="1"/>
        </dgm:presLayoutVars>
      </dgm:prSet>
      <dgm:spPr/>
    </dgm:pt>
  </dgm:ptLst>
  <dgm:cxnLst>
    <dgm:cxn modelId="{1289DB03-00B4-4472-922B-68F16F2AB9BC}" srcId="{7265FA74-4C76-4AA5-B436-B0DA5FA08A33}" destId="{B2D613BE-44ED-4833-A9C1-1A3BE887CEBE}" srcOrd="0" destOrd="0" parTransId="{3965E237-C7E4-4A20-BCD9-6BB907E081F9}" sibTransId="{5A095DA0-BA45-4129-9099-CDE77A90D268}"/>
    <dgm:cxn modelId="{CA32B810-DA98-4660-97C4-7D04921538DC}" srcId="{B2D613BE-44ED-4833-A9C1-1A3BE887CEBE}" destId="{AF1836AC-7D07-449B-AB63-444B0C1EDD19}" srcOrd="1" destOrd="0" parTransId="{D8BE3A34-97EA-46E4-B257-664ABFA0F60A}" sibTransId="{045EA307-7B0D-483E-84BE-F724F82314A1}"/>
    <dgm:cxn modelId="{7BCF1013-38C9-48E2-972E-DBEB84C420D9}" srcId="{56B8FEBF-7534-4989-B5EE-29BA6BD5ADFE}" destId="{0BC564E0-FF71-4F18-9DD8-5BC81FD4C643}" srcOrd="0" destOrd="0" parTransId="{0617AE1E-80E3-4C94-9052-C93C27A8943B}" sibTransId="{658E58EC-50C7-486E-8F28-5391C747F232}"/>
    <dgm:cxn modelId="{A8D1762B-A6ED-4975-B311-3E7B57C34E81}" type="presOf" srcId="{8DB25616-5232-42A4-9BE5-ABCD1363E09D}" destId="{22276CA2-6909-480D-A02E-797D41D36A42}" srcOrd="0" destOrd="0" presId="urn:microsoft.com/office/officeart/2005/8/layout/list1"/>
    <dgm:cxn modelId="{280A6933-037C-4D94-A319-3E95554627F1}" type="presOf" srcId="{95504391-4205-4D67-ADA0-8E80282699E7}" destId="{A5356A9C-92F2-42D9-B685-432A2513A393}" srcOrd="0" destOrd="1" presId="urn:microsoft.com/office/officeart/2005/8/layout/list1"/>
    <dgm:cxn modelId="{A7975333-233F-48DB-9A66-5D38ECCC8A1A}" type="presOf" srcId="{65FAD969-BCC5-4250-8D1D-9BD8D06CAFA2}" destId="{22276CA2-6909-480D-A02E-797D41D36A42}" srcOrd="0" destOrd="3" presId="urn:microsoft.com/office/officeart/2005/8/layout/list1"/>
    <dgm:cxn modelId="{E3DB2A36-D1FE-472A-B05C-5B0B27DD5416}" type="presOf" srcId="{0A69D568-0976-48EF-BC36-59A423252A5D}" destId="{A5356A9C-92F2-42D9-B685-432A2513A393}" srcOrd="0" destOrd="3" presId="urn:microsoft.com/office/officeart/2005/8/layout/list1"/>
    <dgm:cxn modelId="{8007D539-D3B5-4788-BE80-74151A834CC6}" type="presOf" srcId="{B2D613BE-44ED-4833-A9C1-1A3BE887CEBE}" destId="{6DDD546B-02EA-4477-B6C2-401DDB38AC1C}" srcOrd="0" destOrd="0" presId="urn:microsoft.com/office/officeart/2005/8/layout/list1"/>
    <dgm:cxn modelId="{BDD3E465-94EE-4643-9B13-A944CBD7A9C3}" type="presOf" srcId="{1249D2CE-72BF-46F0-95D7-F163F9C26B86}" destId="{A5356A9C-92F2-42D9-B685-432A2513A393}" srcOrd="0" destOrd="4" presId="urn:microsoft.com/office/officeart/2005/8/layout/list1"/>
    <dgm:cxn modelId="{EF18A947-4F69-411A-BE59-AAC478C5F73D}" type="presOf" srcId="{0BC564E0-FF71-4F18-9DD8-5BC81FD4C643}" destId="{A5356A9C-92F2-42D9-B685-432A2513A393}" srcOrd="0" destOrd="0" presId="urn:microsoft.com/office/officeart/2005/8/layout/list1"/>
    <dgm:cxn modelId="{1DB0BA69-1DA9-4A81-A3FB-813785402A43}" srcId="{7265FA74-4C76-4AA5-B436-B0DA5FA08A33}" destId="{56B8FEBF-7534-4989-B5EE-29BA6BD5ADFE}" srcOrd="1" destOrd="0" parTransId="{5AACDA45-AC67-4560-A4B6-90267679CDDA}" sibTransId="{1DC2C067-8DBC-4FC6-B1B5-3ECFF65DF59E}"/>
    <dgm:cxn modelId="{3F69AA4C-37E1-473D-828C-BEE199B7FF65}" type="presOf" srcId="{56B8FEBF-7534-4989-B5EE-29BA6BD5ADFE}" destId="{3488A31B-32C8-4E35-9D60-5405B1D3B982}" srcOrd="0" destOrd="0" presId="urn:microsoft.com/office/officeart/2005/8/layout/list1"/>
    <dgm:cxn modelId="{7F286950-4066-4FB9-A2BF-D292EEBB5D62}" type="presOf" srcId="{B2D613BE-44ED-4833-A9C1-1A3BE887CEBE}" destId="{DC07B57F-D261-4639-A828-A8C83A449FA6}" srcOrd="1" destOrd="0" presId="urn:microsoft.com/office/officeart/2005/8/layout/list1"/>
    <dgm:cxn modelId="{BAC3A851-B440-4496-940C-D444F6DE615F}" srcId="{56B8FEBF-7534-4989-B5EE-29BA6BD5ADFE}" destId="{0A69D568-0976-48EF-BC36-59A423252A5D}" srcOrd="3" destOrd="0" parTransId="{A345290C-AFAE-443F-A3A1-1CA9BF17F032}" sibTransId="{F205640A-0B78-4EB3-8ADD-B9ADE010060C}"/>
    <dgm:cxn modelId="{1330D078-3342-46F4-AA4F-66E42B17DB23}" srcId="{29710608-8D64-4162-8836-026682D7462C}" destId="{00309F1F-CC24-4788-8955-C6BA37756964}" srcOrd="1" destOrd="0" parTransId="{DAAAF7D4-C2B2-4650-81C1-8FD14E93D8D5}" sibTransId="{E1FFC08E-EA2A-45B4-93F9-54CFB0BD04E0}"/>
    <dgm:cxn modelId="{297B387D-68B0-4DF4-A158-35886CBA49F9}" type="presOf" srcId="{00309F1F-CC24-4788-8955-C6BA37756964}" destId="{22276CA2-6909-480D-A02E-797D41D36A42}" srcOrd="0" destOrd="4" presId="urn:microsoft.com/office/officeart/2005/8/layout/list1"/>
    <dgm:cxn modelId="{09341688-050C-42A5-86A9-3524371504DC}" type="presOf" srcId="{35F1FCFF-E5AD-4D87-A34D-50EF80B3603B}" destId="{A5356A9C-92F2-42D9-B685-432A2513A393}" srcOrd="0" destOrd="2" presId="urn:microsoft.com/office/officeart/2005/8/layout/list1"/>
    <dgm:cxn modelId="{153CA78C-D990-45D3-A244-063761487B99}" srcId="{B2D613BE-44ED-4833-A9C1-1A3BE887CEBE}" destId="{29710608-8D64-4162-8836-026682D7462C}" srcOrd="2" destOrd="0" parTransId="{60754694-5BCB-4FEF-B9BF-C1B5A079EA09}" sibTransId="{8757B622-0F5D-4520-867C-C5BABC656617}"/>
    <dgm:cxn modelId="{E6618198-8692-460B-97AE-25FE9F2500E0}" srcId="{B2D613BE-44ED-4833-A9C1-1A3BE887CEBE}" destId="{8DB25616-5232-42A4-9BE5-ABCD1363E09D}" srcOrd="0" destOrd="0" parTransId="{E1B92534-C2BE-4A7F-B9C3-E34CD7C0DEBA}" sibTransId="{572A957B-304A-4B92-AD4A-07FDE0888AA2}"/>
    <dgm:cxn modelId="{D2B2E89D-9A4C-403A-BF4A-ABDCFFADD174}" srcId="{56B8FEBF-7534-4989-B5EE-29BA6BD5ADFE}" destId="{1249D2CE-72BF-46F0-95D7-F163F9C26B86}" srcOrd="4" destOrd="0" parTransId="{09E7B9BD-8EA0-4F09-A547-9AC109925469}" sibTransId="{FECD3895-6FC7-4FF7-8DCD-EC9AF9E53154}"/>
    <dgm:cxn modelId="{7C9E4CA2-17A8-4B86-9934-E0EE9A841695}" srcId="{56B8FEBF-7534-4989-B5EE-29BA6BD5ADFE}" destId="{95504391-4205-4D67-ADA0-8E80282699E7}" srcOrd="1" destOrd="0" parTransId="{329209A9-4749-4CFD-A8F1-A62BA0BEE6F3}" sibTransId="{3E9C5F82-D3BC-408A-A184-E84965CBB356}"/>
    <dgm:cxn modelId="{AA5BE2A4-4ED3-4501-A469-B455672D6930}" type="presOf" srcId="{7265FA74-4C76-4AA5-B436-B0DA5FA08A33}" destId="{C79330A8-C7CF-4F2F-9B54-DCB03D6E059B}" srcOrd="0" destOrd="0" presId="urn:microsoft.com/office/officeart/2005/8/layout/list1"/>
    <dgm:cxn modelId="{8EC44BC2-56A7-408A-A942-25FA012B02B2}" type="presOf" srcId="{29710608-8D64-4162-8836-026682D7462C}" destId="{22276CA2-6909-480D-A02E-797D41D36A42}" srcOrd="0" destOrd="2" presId="urn:microsoft.com/office/officeart/2005/8/layout/list1"/>
    <dgm:cxn modelId="{17F39DDA-7ABC-4FD9-9E13-853403A96140}" type="presOf" srcId="{AF1836AC-7D07-449B-AB63-444B0C1EDD19}" destId="{22276CA2-6909-480D-A02E-797D41D36A42}" srcOrd="0" destOrd="1" presId="urn:microsoft.com/office/officeart/2005/8/layout/list1"/>
    <dgm:cxn modelId="{8602A2E9-B1AD-4514-8E0F-ABB4E334DB96}" srcId="{29710608-8D64-4162-8836-026682D7462C}" destId="{65FAD969-BCC5-4250-8D1D-9BD8D06CAFA2}" srcOrd="0" destOrd="0" parTransId="{B3D3773D-034C-4B19-8DCD-9BDD0FE2D530}" sibTransId="{0926FEC1-80E0-4CD4-A85C-B1A2F6D92D5F}"/>
    <dgm:cxn modelId="{B5EE9AF6-60EA-4209-A29F-5631A938711D}" type="presOf" srcId="{56B8FEBF-7534-4989-B5EE-29BA6BD5ADFE}" destId="{E69402FC-471B-4A89-B10E-D4C4F3060E8A}" srcOrd="1" destOrd="0" presId="urn:microsoft.com/office/officeart/2005/8/layout/list1"/>
    <dgm:cxn modelId="{04F4DDFB-2D7E-434D-B431-B1B83C2D6E7A}" srcId="{56B8FEBF-7534-4989-B5EE-29BA6BD5ADFE}" destId="{35F1FCFF-E5AD-4D87-A34D-50EF80B3603B}" srcOrd="2" destOrd="0" parTransId="{06991BED-55E1-4A8C-AF07-F96B592CFEAD}" sibTransId="{38154B13-898A-47A5-9197-B5E4F8E4E585}"/>
    <dgm:cxn modelId="{5D8246D5-7125-44D2-AA24-EBE88F40FE3E}" type="presParOf" srcId="{C79330A8-C7CF-4F2F-9B54-DCB03D6E059B}" destId="{20F90FE4-1CEB-4F7B-8B11-7E52E3089E15}" srcOrd="0" destOrd="0" presId="urn:microsoft.com/office/officeart/2005/8/layout/list1"/>
    <dgm:cxn modelId="{DE0665EE-1201-4843-917D-7E97CB1944AA}" type="presParOf" srcId="{20F90FE4-1CEB-4F7B-8B11-7E52E3089E15}" destId="{6DDD546B-02EA-4477-B6C2-401DDB38AC1C}" srcOrd="0" destOrd="0" presId="urn:microsoft.com/office/officeart/2005/8/layout/list1"/>
    <dgm:cxn modelId="{27CAC7D1-1798-4EF9-997D-0C5520658181}" type="presParOf" srcId="{20F90FE4-1CEB-4F7B-8B11-7E52E3089E15}" destId="{DC07B57F-D261-4639-A828-A8C83A449FA6}" srcOrd="1" destOrd="0" presId="urn:microsoft.com/office/officeart/2005/8/layout/list1"/>
    <dgm:cxn modelId="{B5AC499E-0152-4AE1-AA5C-5272D6037FD8}" type="presParOf" srcId="{C79330A8-C7CF-4F2F-9B54-DCB03D6E059B}" destId="{9CA2E8C7-54CD-470C-B5BC-FDD32C2903EB}" srcOrd="1" destOrd="0" presId="urn:microsoft.com/office/officeart/2005/8/layout/list1"/>
    <dgm:cxn modelId="{42778FE8-F560-47F7-A005-670831A26D10}" type="presParOf" srcId="{C79330A8-C7CF-4F2F-9B54-DCB03D6E059B}" destId="{22276CA2-6909-480D-A02E-797D41D36A42}" srcOrd="2" destOrd="0" presId="urn:microsoft.com/office/officeart/2005/8/layout/list1"/>
    <dgm:cxn modelId="{678B205D-40F0-433C-8A25-A4D7D4F98543}" type="presParOf" srcId="{C79330A8-C7CF-4F2F-9B54-DCB03D6E059B}" destId="{C9ECD780-5BFF-4009-A410-173011D5613A}" srcOrd="3" destOrd="0" presId="urn:microsoft.com/office/officeart/2005/8/layout/list1"/>
    <dgm:cxn modelId="{159D1247-E502-412D-B488-82BDC229B331}" type="presParOf" srcId="{C79330A8-C7CF-4F2F-9B54-DCB03D6E059B}" destId="{099FEC7B-160E-4259-9F15-A6011DAA2BF9}" srcOrd="4" destOrd="0" presId="urn:microsoft.com/office/officeart/2005/8/layout/list1"/>
    <dgm:cxn modelId="{3B5A9854-FCCF-4541-988B-8BD076B35606}" type="presParOf" srcId="{099FEC7B-160E-4259-9F15-A6011DAA2BF9}" destId="{3488A31B-32C8-4E35-9D60-5405B1D3B982}" srcOrd="0" destOrd="0" presId="urn:microsoft.com/office/officeart/2005/8/layout/list1"/>
    <dgm:cxn modelId="{F7556033-7974-4DA2-B995-BAA68F12F369}" type="presParOf" srcId="{099FEC7B-160E-4259-9F15-A6011DAA2BF9}" destId="{E69402FC-471B-4A89-B10E-D4C4F3060E8A}" srcOrd="1" destOrd="0" presId="urn:microsoft.com/office/officeart/2005/8/layout/list1"/>
    <dgm:cxn modelId="{39984AA6-150D-4A18-82E8-A447BA11C03C}" type="presParOf" srcId="{C79330A8-C7CF-4F2F-9B54-DCB03D6E059B}" destId="{4B39B7A3-9FA6-4D39-9B55-8AADC16CBFB5}" srcOrd="5" destOrd="0" presId="urn:microsoft.com/office/officeart/2005/8/layout/list1"/>
    <dgm:cxn modelId="{F73363A6-A27A-4E09-B2CD-704448CDF5FF}" type="presParOf" srcId="{C79330A8-C7CF-4F2F-9B54-DCB03D6E059B}" destId="{A5356A9C-92F2-42D9-B685-432A2513A39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7B9E6B7-DC00-4E20-AB77-D9D4625B81D9}" type="doc">
      <dgm:prSet loTypeId="urn:microsoft.com/office/officeart/2008/layout/VerticalCurvedList" loCatId="list" qsTypeId="urn:microsoft.com/office/officeart/2005/8/quickstyle/simple1" qsCatId="simple" csTypeId="urn:microsoft.com/office/officeart/2005/8/colors/colorful1" csCatId="colorful"/>
      <dgm:spPr/>
      <dgm:t>
        <a:bodyPr/>
        <a:lstStyle/>
        <a:p>
          <a:endParaRPr lang="en-US"/>
        </a:p>
      </dgm:t>
    </dgm:pt>
    <dgm:pt modelId="{CEAEAA31-ED81-4A57-A5DE-74CA9B184F21}">
      <dgm:prSet custT="1"/>
      <dgm:spPr/>
      <dgm:t>
        <a:bodyPr/>
        <a:lstStyle/>
        <a:p>
          <a:r>
            <a:rPr lang="en-US" sz="2400" baseline="0" dirty="0"/>
            <a:t>Primary filegroup </a:t>
          </a:r>
          <a:endParaRPr lang="en-US" sz="2400" dirty="0"/>
        </a:p>
      </dgm:t>
    </dgm:pt>
    <dgm:pt modelId="{D2F26142-EDDC-4849-A48E-7D25FDEB3280}" type="parTrans" cxnId="{182E09B2-DA91-4595-9164-DBA68E07CAD8}">
      <dgm:prSet/>
      <dgm:spPr/>
      <dgm:t>
        <a:bodyPr/>
        <a:lstStyle/>
        <a:p>
          <a:endParaRPr lang="en-US" sz="1200"/>
        </a:p>
      </dgm:t>
    </dgm:pt>
    <dgm:pt modelId="{7E247CA4-CC14-46FC-BBAA-936406D87CF9}" type="sibTrans" cxnId="{182E09B2-DA91-4595-9164-DBA68E07CAD8}">
      <dgm:prSet/>
      <dgm:spPr/>
      <dgm:t>
        <a:bodyPr/>
        <a:lstStyle/>
        <a:p>
          <a:endParaRPr lang="en-US" sz="1200"/>
        </a:p>
      </dgm:t>
    </dgm:pt>
    <dgm:pt modelId="{5EEDB9FA-C05E-4C39-AF5B-C1664497DC6B}">
      <dgm:prSet custT="1"/>
      <dgm:spPr/>
      <dgm:t>
        <a:bodyPr/>
        <a:lstStyle/>
        <a:p>
          <a:r>
            <a:rPr lang="en-US" sz="2400" baseline="0" dirty="0"/>
            <a:t>User-defined filegroup</a:t>
          </a:r>
          <a:endParaRPr lang="en-US" sz="2400" dirty="0"/>
        </a:p>
      </dgm:t>
    </dgm:pt>
    <dgm:pt modelId="{1EDCCF65-8882-455A-81EB-B24F7942C777}" type="parTrans" cxnId="{7D74915B-E33D-4105-AB2A-53C143D28924}">
      <dgm:prSet/>
      <dgm:spPr/>
      <dgm:t>
        <a:bodyPr/>
        <a:lstStyle/>
        <a:p>
          <a:endParaRPr lang="en-US" sz="1200"/>
        </a:p>
      </dgm:t>
    </dgm:pt>
    <dgm:pt modelId="{734D3641-CD91-4C7F-B968-F2D5B6446DFD}" type="sibTrans" cxnId="{7D74915B-E33D-4105-AB2A-53C143D28924}">
      <dgm:prSet/>
      <dgm:spPr/>
      <dgm:t>
        <a:bodyPr/>
        <a:lstStyle/>
        <a:p>
          <a:endParaRPr lang="en-US" sz="1200"/>
        </a:p>
      </dgm:t>
    </dgm:pt>
    <dgm:pt modelId="{5EE64238-8CCE-4D23-B3C6-590B0BD2834B}">
      <dgm:prSet custT="1"/>
      <dgm:spPr/>
      <dgm:t>
        <a:bodyPr/>
        <a:lstStyle/>
        <a:p>
          <a:r>
            <a:rPr lang="en-US" sz="2400" baseline="0" dirty="0"/>
            <a:t>Memory optimized data filegroup</a:t>
          </a:r>
          <a:endParaRPr lang="en-US" sz="2400" dirty="0"/>
        </a:p>
      </dgm:t>
    </dgm:pt>
    <dgm:pt modelId="{A23906D9-B7EA-4546-8BA2-11F18CEF67EE}" type="parTrans" cxnId="{6DBA52BD-969C-4E60-9314-61F7AF86817C}">
      <dgm:prSet/>
      <dgm:spPr/>
      <dgm:t>
        <a:bodyPr/>
        <a:lstStyle/>
        <a:p>
          <a:endParaRPr lang="en-US" sz="1200"/>
        </a:p>
      </dgm:t>
    </dgm:pt>
    <dgm:pt modelId="{361D9CF0-5C70-41E8-A267-08109503B3F0}" type="sibTrans" cxnId="{6DBA52BD-969C-4E60-9314-61F7AF86817C}">
      <dgm:prSet/>
      <dgm:spPr/>
      <dgm:t>
        <a:bodyPr/>
        <a:lstStyle/>
        <a:p>
          <a:endParaRPr lang="en-US" sz="1200"/>
        </a:p>
      </dgm:t>
    </dgm:pt>
    <dgm:pt modelId="{09DB0953-8C0C-4D79-8C84-AC94D4FED3B5}">
      <dgm:prSet custT="1"/>
      <dgm:spPr/>
      <dgm:t>
        <a:bodyPr/>
        <a:lstStyle/>
        <a:p>
          <a:r>
            <a:rPr lang="en-US" sz="2400" baseline="0" dirty="0"/>
            <a:t>FILESTREAM file group</a:t>
          </a:r>
          <a:endParaRPr lang="en-US" sz="2400" dirty="0"/>
        </a:p>
      </dgm:t>
    </dgm:pt>
    <dgm:pt modelId="{352DA12E-2236-4F3A-9D77-0B40734D9A1E}" type="parTrans" cxnId="{64B261D3-AD2A-4A22-8E6C-3F6078778EB3}">
      <dgm:prSet/>
      <dgm:spPr/>
      <dgm:t>
        <a:bodyPr/>
        <a:lstStyle/>
        <a:p>
          <a:endParaRPr lang="en-US" sz="1200"/>
        </a:p>
      </dgm:t>
    </dgm:pt>
    <dgm:pt modelId="{57C21D90-1486-4B83-ADCD-80335E132286}" type="sibTrans" cxnId="{64B261D3-AD2A-4A22-8E6C-3F6078778EB3}">
      <dgm:prSet/>
      <dgm:spPr/>
      <dgm:t>
        <a:bodyPr/>
        <a:lstStyle/>
        <a:p>
          <a:endParaRPr lang="en-US" sz="1200"/>
        </a:p>
      </dgm:t>
    </dgm:pt>
    <dgm:pt modelId="{CF835910-E25A-4790-8809-26357AE3963A}" type="pres">
      <dgm:prSet presAssocID="{37B9E6B7-DC00-4E20-AB77-D9D4625B81D9}" presName="Name0" presStyleCnt="0">
        <dgm:presLayoutVars>
          <dgm:chMax val="7"/>
          <dgm:chPref val="7"/>
          <dgm:dir/>
        </dgm:presLayoutVars>
      </dgm:prSet>
      <dgm:spPr/>
    </dgm:pt>
    <dgm:pt modelId="{63AA5C18-C326-46F9-BD9E-1B83BFC05FA7}" type="pres">
      <dgm:prSet presAssocID="{37B9E6B7-DC00-4E20-AB77-D9D4625B81D9}" presName="Name1" presStyleCnt="0"/>
      <dgm:spPr/>
    </dgm:pt>
    <dgm:pt modelId="{1EB831F7-308B-49FA-A9E8-414082E05509}" type="pres">
      <dgm:prSet presAssocID="{37B9E6B7-DC00-4E20-AB77-D9D4625B81D9}" presName="cycle" presStyleCnt="0"/>
      <dgm:spPr/>
    </dgm:pt>
    <dgm:pt modelId="{F740B49C-3D65-4557-B1A7-04F934313A8C}" type="pres">
      <dgm:prSet presAssocID="{37B9E6B7-DC00-4E20-AB77-D9D4625B81D9}" presName="srcNode" presStyleLbl="node1" presStyleIdx="0" presStyleCnt="4"/>
      <dgm:spPr/>
    </dgm:pt>
    <dgm:pt modelId="{AD190ACD-3C53-4469-8217-8490013ED998}" type="pres">
      <dgm:prSet presAssocID="{37B9E6B7-DC00-4E20-AB77-D9D4625B81D9}" presName="conn" presStyleLbl="parChTrans1D2" presStyleIdx="0" presStyleCnt="1"/>
      <dgm:spPr/>
    </dgm:pt>
    <dgm:pt modelId="{F5FACC46-5EB8-4EBF-A5C3-1EC3061EC066}" type="pres">
      <dgm:prSet presAssocID="{37B9E6B7-DC00-4E20-AB77-D9D4625B81D9}" presName="extraNode" presStyleLbl="node1" presStyleIdx="0" presStyleCnt="4"/>
      <dgm:spPr/>
    </dgm:pt>
    <dgm:pt modelId="{5A42F2D0-9AB7-4981-BE3B-064C1BEFC206}" type="pres">
      <dgm:prSet presAssocID="{37B9E6B7-DC00-4E20-AB77-D9D4625B81D9}" presName="dstNode" presStyleLbl="node1" presStyleIdx="0" presStyleCnt="4"/>
      <dgm:spPr/>
    </dgm:pt>
    <dgm:pt modelId="{19E0775C-065A-41B0-8322-25B363184CBB}" type="pres">
      <dgm:prSet presAssocID="{CEAEAA31-ED81-4A57-A5DE-74CA9B184F21}" presName="text_1" presStyleLbl="node1" presStyleIdx="0" presStyleCnt="4">
        <dgm:presLayoutVars>
          <dgm:bulletEnabled val="1"/>
        </dgm:presLayoutVars>
      </dgm:prSet>
      <dgm:spPr/>
    </dgm:pt>
    <dgm:pt modelId="{DAC62B60-F810-450B-B543-491D0EA85771}" type="pres">
      <dgm:prSet presAssocID="{CEAEAA31-ED81-4A57-A5DE-74CA9B184F21}" presName="accent_1" presStyleCnt="0"/>
      <dgm:spPr/>
    </dgm:pt>
    <dgm:pt modelId="{9C04FDC8-9C50-4004-8A8D-67598C9055F6}" type="pres">
      <dgm:prSet presAssocID="{CEAEAA31-ED81-4A57-A5DE-74CA9B184F21}" presName="accentRepeatNode" presStyleLbl="solidFgAcc1" presStyleIdx="0" presStyleCnt="4"/>
      <dgm:spPr/>
    </dgm:pt>
    <dgm:pt modelId="{17481774-D1D2-41EA-B32C-76E3A18A1203}" type="pres">
      <dgm:prSet presAssocID="{5EEDB9FA-C05E-4C39-AF5B-C1664497DC6B}" presName="text_2" presStyleLbl="node1" presStyleIdx="1" presStyleCnt="4">
        <dgm:presLayoutVars>
          <dgm:bulletEnabled val="1"/>
        </dgm:presLayoutVars>
      </dgm:prSet>
      <dgm:spPr/>
    </dgm:pt>
    <dgm:pt modelId="{6F89A12E-1536-4762-ABBC-3A6743A4B361}" type="pres">
      <dgm:prSet presAssocID="{5EEDB9FA-C05E-4C39-AF5B-C1664497DC6B}" presName="accent_2" presStyleCnt="0"/>
      <dgm:spPr/>
    </dgm:pt>
    <dgm:pt modelId="{3B5BE661-090B-458E-974E-BFD531E651A2}" type="pres">
      <dgm:prSet presAssocID="{5EEDB9FA-C05E-4C39-AF5B-C1664497DC6B}" presName="accentRepeatNode" presStyleLbl="solidFgAcc1" presStyleIdx="1" presStyleCnt="4"/>
      <dgm:spPr/>
    </dgm:pt>
    <dgm:pt modelId="{0F70B825-517F-45B9-B244-D415BD9DEE88}" type="pres">
      <dgm:prSet presAssocID="{5EE64238-8CCE-4D23-B3C6-590B0BD2834B}" presName="text_3" presStyleLbl="node1" presStyleIdx="2" presStyleCnt="4">
        <dgm:presLayoutVars>
          <dgm:bulletEnabled val="1"/>
        </dgm:presLayoutVars>
      </dgm:prSet>
      <dgm:spPr/>
    </dgm:pt>
    <dgm:pt modelId="{2699F491-72C9-49F2-857C-18FDAF7D06B0}" type="pres">
      <dgm:prSet presAssocID="{5EE64238-8CCE-4D23-B3C6-590B0BD2834B}" presName="accent_3" presStyleCnt="0"/>
      <dgm:spPr/>
    </dgm:pt>
    <dgm:pt modelId="{160295B8-46D3-4F92-BE43-C7B0161F1A81}" type="pres">
      <dgm:prSet presAssocID="{5EE64238-8CCE-4D23-B3C6-590B0BD2834B}" presName="accentRepeatNode" presStyleLbl="solidFgAcc1" presStyleIdx="2" presStyleCnt="4"/>
      <dgm:spPr/>
    </dgm:pt>
    <dgm:pt modelId="{2BA7FF9D-2718-4B85-9127-2BB8209536CF}" type="pres">
      <dgm:prSet presAssocID="{09DB0953-8C0C-4D79-8C84-AC94D4FED3B5}" presName="text_4" presStyleLbl="node1" presStyleIdx="3" presStyleCnt="4">
        <dgm:presLayoutVars>
          <dgm:bulletEnabled val="1"/>
        </dgm:presLayoutVars>
      </dgm:prSet>
      <dgm:spPr/>
    </dgm:pt>
    <dgm:pt modelId="{439C1662-7119-43F1-A039-661EC8B76927}" type="pres">
      <dgm:prSet presAssocID="{09DB0953-8C0C-4D79-8C84-AC94D4FED3B5}" presName="accent_4" presStyleCnt="0"/>
      <dgm:spPr/>
    </dgm:pt>
    <dgm:pt modelId="{1ECA9742-A5B7-4BE2-BBD4-CF63016BD800}" type="pres">
      <dgm:prSet presAssocID="{09DB0953-8C0C-4D79-8C84-AC94D4FED3B5}" presName="accentRepeatNode" presStyleLbl="solidFgAcc1" presStyleIdx="3" presStyleCnt="4"/>
      <dgm:spPr/>
    </dgm:pt>
  </dgm:ptLst>
  <dgm:cxnLst>
    <dgm:cxn modelId="{D21F4813-9E6F-4E28-A41E-0F740BE76338}" type="presOf" srcId="{CEAEAA31-ED81-4A57-A5DE-74CA9B184F21}" destId="{19E0775C-065A-41B0-8322-25B363184CBB}" srcOrd="0" destOrd="0" presId="urn:microsoft.com/office/officeart/2008/layout/VerticalCurvedList"/>
    <dgm:cxn modelId="{35392F20-C5BD-42C6-9D18-2511E3A66B08}" type="presOf" srcId="{37B9E6B7-DC00-4E20-AB77-D9D4625B81D9}" destId="{CF835910-E25A-4790-8809-26357AE3963A}" srcOrd="0" destOrd="0" presId="urn:microsoft.com/office/officeart/2008/layout/VerticalCurvedList"/>
    <dgm:cxn modelId="{7D74915B-E33D-4105-AB2A-53C143D28924}" srcId="{37B9E6B7-DC00-4E20-AB77-D9D4625B81D9}" destId="{5EEDB9FA-C05E-4C39-AF5B-C1664497DC6B}" srcOrd="1" destOrd="0" parTransId="{1EDCCF65-8882-455A-81EB-B24F7942C777}" sibTransId="{734D3641-CD91-4C7F-B968-F2D5B6446DFD}"/>
    <dgm:cxn modelId="{84385648-6E72-44BD-9EED-447E4C09248E}" type="presOf" srcId="{5EE64238-8CCE-4D23-B3C6-590B0BD2834B}" destId="{0F70B825-517F-45B9-B244-D415BD9DEE88}" srcOrd="0" destOrd="0" presId="urn:microsoft.com/office/officeart/2008/layout/VerticalCurvedList"/>
    <dgm:cxn modelId="{DE74F1AE-238A-4D6D-AF1B-7ED28163D971}" type="presOf" srcId="{5EEDB9FA-C05E-4C39-AF5B-C1664497DC6B}" destId="{17481774-D1D2-41EA-B32C-76E3A18A1203}" srcOrd="0" destOrd="0" presId="urn:microsoft.com/office/officeart/2008/layout/VerticalCurvedList"/>
    <dgm:cxn modelId="{182E09B2-DA91-4595-9164-DBA68E07CAD8}" srcId="{37B9E6B7-DC00-4E20-AB77-D9D4625B81D9}" destId="{CEAEAA31-ED81-4A57-A5DE-74CA9B184F21}" srcOrd="0" destOrd="0" parTransId="{D2F26142-EDDC-4849-A48E-7D25FDEB3280}" sibTransId="{7E247CA4-CC14-46FC-BBAA-936406D87CF9}"/>
    <dgm:cxn modelId="{6DBA52BD-969C-4E60-9314-61F7AF86817C}" srcId="{37B9E6B7-DC00-4E20-AB77-D9D4625B81D9}" destId="{5EE64238-8CCE-4D23-B3C6-590B0BD2834B}" srcOrd="2" destOrd="0" parTransId="{A23906D9-B7EA-4546-8BA2-11F18CEF67EE}" sibTransId="{361D9CF0-5C70-41E8-A267-08109503B3F0}"/>
    <dgm:cxn modelId="{B99843C0-27C4-426D-8D2E-0F468AA1B60F}" type="presOf" srcId="{09DB0953-8C0C-4D79-8C84-AC94D4FED3B5}" destId="{2BA7FF9D-2718-4B85-9127-2BB8209536CF}" srcOrd="0" destOrd="0" presId="urn:microsoft.com/office/officeart/2008/layout/VerticalCurvedList"/>
    <dgm:cxn modelId="{64B261D3-AD2A-4A22-8E6C-3F6078778EB3}" srcId="{37B9E6B7-DC00-4E20-AB77-D9D4625B81D9}" destId="{09DB0953-8C0C-4D79-8C84-AC94D4FED3B5}" srcOrd="3" destOrd="0" parTransId="{352DA12E-2236-4F3A-9D77-0B40734D9A1E}" sibTransId="{57C21D90-1486-4B83-ADCD-80335E132286}"/>
    <dgm:cxn modelId="{BA936EEE-5A54-40E5-9178-5090426BA8D3}" type="presOf" srcId="{7E247CA4-CC14-46FC-BBAA-936406D87CF9}" destId="{AD190ACD-3C53-4469-8217-8490013ED998}" srcOrd="0" destOrd="0" presId="urn:microsoft.com/office/officeart/2008/layout/VerticalCurvedList"/>
    <dgm:cxn modelId="{1C608A25-F9B1-4631-A27B-EB4DEF4CBA70}" type="presParOf" srcId="{CF835910-E25A-4790-8809-26357AE3963A}" destId="{63AA5C18-C326-46F9-BD9E-1B83BFC05FA7}" srcOrd="0" destOrd="0" presId="urn:microsoft.com/office/officeart/2008/layout/VerticalCurvedList"/>
    <dgm:cxn modelId="{26DC8AEF-1563-464A-9557-EC8CFC220E96}" type="presParOf" srcId="{63AA5C18-C326-46F9-BD9E-1B83BFC05FA7}" destId="{1EB831F7-308B-49FA-A9E8-414082E05509}" srcOrd="0" destOrd="0" presId="urn:microsoft.com/office/officeart/2008/layout/VerticalCurvedList"/>
    <dgm:cxn modelId="{DA097377-33F0-43E3-B15C-00ECB05F5A8B}" type="presParOf" srcId="{1EB831F7-308B-49FA-A9E8-414082E05509}" destId="{F740B49C-3D65-4557-B1A7-04F934313A8C}" srcOrd="0" destOrd="0" presId="urn:microsoft.com/office/officeart/2008/layout/VerticalCurvedList"/>
    <dgm:cxn modelId="{1C1249BF-73E6-4B3F-A5FF-97695FF845C7}" type="presParOf" srcId="{1EB831F7-308B-49FA-A9E8-414082E05509}" destId="{AD190ACD-3C53-4469-8217-8490013ED998}" srcOrd="1" destOrd="0" presId="urn:microsoft.com/office/officeart/2008/layout/VerticalCurvedList"/>
    <dgm:cxn modelId="{3945F9E2-D867-4239-9271-77A5684BAAFD}" type="presParOf" srcId="{1EB831F7-308B-49FA-A9E8-414082E05509}" destId="{F5FACC46-5EB8-4EBF-A5C3-1EC3061EC066}" srcOrd="2" destOrd="0" presId="urn:microsoft.com/office/officeart/2008/layout/VerticalCurvedList"/>
    <dgm:cxn modelId="{87922A20-3D72-4749-BEEE-ADC1CE9D7EC0}" type="presParOf" srcId="{1EB831F7-308B-49FA-A9E8-414082E05509}" destId="{5A42F2D0-9AB7-4981-BE3B-064C1BEFC206}" srcOrd="3" destOrd="0" presId="urn:microsoft.com/office/officeart/2008/layout/VerticalCurvedList"/>
    <dgm:cxn modelId="{9EE87C98-62AB-484B-932A-A1BB22B34EC0}" type="presParOf" srcId="{63AA5C18-C326-46F9-BD9E-1B83BFC05FA7}" destId="{19E0775C-065A-41B0-8322-25B363184CBB}" srcOrd="1" destOrd="0" presId="urn:microsoft.com/office/officeart/2008/layout/VerticalCurvedList"/>
    <dgm:cxn modelId="{153C7F04-7D70-4324-8B7E-EBCF80ADE942}" type="presParOf" srcId="{63AA5C18-C326-46F9-BD9E-1B83BFC05FA7}" destId="{DAC62B60-F810-450B-B543-491D0EA85771}" srcOrd="2" destOrd="0" presId="urn:microsoft.com/office/officeart/2008/layout/VerticalCurvedList"/>
    <dgm:cxn modelId="{EC407194-E44D-46C9-B2B8-E61DF7D07A22}" type="presParOf" srcId="{DAC62B60-F810-450B-B543-491D0EA85771}" destId="{9C04FDC8-9C50-4004-8A8D-67598C9055F6}" srcOrd="0" destOrd="0" presId="urn:microsoft.com/office/officeart/2008/layout/VerticalCurvedList"/>
    <dgm:cxn modelId="{8DF5CA13-8567-43F3-A4D4-0066C0A4F381}" type="presParOf" srcId="{63AA5C18-C326-46F9-BD9E-1B83BFC05FA7}" destId="{17481774-D1D2-41EA-B32C-76E3A18A1203}" srcOrd="3" destOrd="0" presId="urn:microsoft.com/office/officeart/2008/layout/VerticalCurvedList"/>
    <dgm:cxn modelId="{676CCCFE-9A77-40F8-B3A5-961A67467C46}" type="presParOf" srcId="{63AA5C18-C326-46F9-BD9E-1B83BFC05FA7}" destId="{6F89A12E-1536-4762-ABBC-3A6743A4B361}" srcOrd="4" destOrd="0" presId="urn:microsoft.com/office/officeart/2008/layout/VerticalCurvedList"/>
    <dgm:cxn modelId="{AA06FDAC-0F57-4BB8-B329-F990C9DB7693}" type="presParOf" srcId="{6F89A12E-1536-4762-ABBC-3A6743A4B361}" destId="{3B5BE661-090B-458E-974E-BFD531E651A2}" srcOrd="0" destOrd="0" presId="urn:microsoft.com/office/officeart/2008/layout/VerticalCurvedList"/>
    <dgm:cxn modelId="{6C32EC6A-02AD-4B9B-8D2D-4C3D53F98FF0}" type="presParOf" srcId="{63AA5C18-C326-46F9-BD9E-1B83BFC05FA7}" destId="{0F70B825-517F-45B9-B244-D415BD9DEE88}" srcOrd="5" destOrd="0" presId="urn:microsoft.com/office/officeart/2008/layout/VerticalCurvedList"/>
    <dgm:cxn modelId="{C224B659-BF99-44DA-BC72-07F86702842A}" type="presParOf" srcId="{63AA5C18-C326-46F9-BD9E-1B83BFC05FA7}" destId="{2699F491-72C9-49F2-857C-18FDAF7D06B0}" srcOrd="6" destOrd="0" presId="urn:microsoft.com/office/officeart/2008/layout/VerticalCurvedList"/>
    <dgm:cxn modelId="{53850806-0D3A-40A0-AC9D-967541FC99F9}" type="presParOf" srcId="{2699F491-72C9-49F2-857C-18FDAF7D06B0}" destId="{160295B8-46D3-4F92-BE43-C7B0161F1A81}" srcOrd="0" destOrd="0" presId="urn:microsoft.com/office/officeart/2008/layout/VerticalCurvedList"/>
    <dgm:cxn modelId="{E8224559-6974-4432-AFA8-7E0C891EB72B}" type="presParOf" srcId="{63AA5C18-C326-46F9-BD9E-1B83BFC05FA7}" destId="{2BA7FF9D-2718-4B85-9127-2BB8209536CF}" srcOrd="7" destOrd="0" presId="urn:microsoft.com/office/officeart/2008/layout/VerticalCurvedList"/>
    <dgm:cxn modelId="{D852492D-72B0-41E2-90A2-4C26ED724F1E}" type="presParOf" srcId="{63AA5C18-C326-46F9-BD9E-1B83BFC05FA7}" destId="{439C1662-7119-43F1-A039-661EC8B76927}" srcOrd="8" destOrd="0" presId="urn:microsoft.com/office/officeart/2008/layout/VerticalCurvedList"/>
    <dgm:cxn modelId="{25100C9B-3EF5-45D8-8E0F-52270B93F4A0}" type="presParOf" srcId="{439C1662-7119-43F1-A039-661EC8B76927}" destId="{1ECA9742-A5B7-4BE2-BBD4-CF63016BD80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6040105-1E92-4AB6-BB5C-3C4E7EC3631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0F464C63-4435-4BD9-8BC4-6FF8EE571A22}">
      <dgm:prSet phldrT="[Text]" custT="1"/>
      <dgm:spPr/>
      <dgm:t>
        <a:bodyPr/>
        <a:lstStyle/>
        <a:p>
          <a:r>
            <a:rPr lang="en-US" sz="2400" dirty="0"/>
            <a:t>Stores 8 kilobytes (KB) pages of data to avoid repeated disk I/O.</a:t>
          </a:r>
        </a:p>
      </dgm:t>
    </dgm:pt>
    <dgm:pt modelId="{19308289-4E4E-4B5B-95A8-8C099CE2E876}" type="parTrans" cxnId="{BF640412-4851-42E3-96FC-D39337C2D935}">
      <dgm:prSet/>
      <dgm:spPr/>
      <dgm:t>
        <a:bodyPr/>
        <a:lstStyle/>
        <a:p>
          <a:endParaRPr lang="en-US"/>
        </a:p>
      </dgm:t>
    </dgm:pt>
    <dgm:pt modelId="{EE731859-F98E-4AC0-B65B-10DAAE071F54}" type="sibTrans" cxnId="{BF640412-4851-42E3-96FC-D39337C2D935}">
      <dgm:prSet/>
      <dgm:spPr/>
      <dgm:t>
        <a:bodyPr/>
        <a:lstStyle/>
        <a:p>
          <a:endParaRPr lang="en-US"/>
        </a:p>
      </dgm:t>
    </dgm:pt>
    <dgm:pt modelId="{67E17738-299F-4FD5-83A3-C7B1C8E6B2C5}">
      <dgm:prSet phldrT="[Text]" custT="1"/>
      <dgm:spPr/>
      <dgm:t>
        <a:bodyPr/>
        <a:lstStyle/>
        <a:p>
          <a:r>
            <a:rPr lang="en-US" sz="2400" dirty="0"/>
            <a:t>Pages held in the buffer until the space is needed by something else.</a:t>
          </a:r>
        </a:p>
      </dgm:t>
    </dgm:pt>
    <dgm:pt modelId="{99E992C1-87A1-463C-8807-ECFE2ADA73FF}" type="parTrans" cxnId="{4B0CA908-C5A1-4896-9A5B-F679016F67D6}">
      <dgm:prSet/>
      <dgm:spPr/>
      <dgm:t>
        <a:bodyPr/>
        <a:lstStyle/>
        <a:p>
          <a:endParaRPr lang="en-US"/>
        </a:p>
      </dgm:t>
    </dgm:pt>
    <dgm:pt modelId="{AAA0D5D7-8ED2-4B87-ADB1-D44B93C98229}" type="sibTrans" cxnId="{4B0CA908-C5A1-4896-9A5B-F679016F67D6}">
      <dgm:prSet/>
      <dgm:spPr/>
      <dgm:t>
        <a:bodyPr/>
        <a:lstStyle/>
        <a:p>
          <a:endParaRPr lang="en-US"/>
        </a:p>
      </dgm:t>
    </dgm:pt>
    <dgm:pt modelId="{DDF3A48C-9044-4623-9CDC-0F23F895C60C}" type="pres">
      <dgm:prSet presAssocID="{56040105-1E92-4AB6-BB5C-3C4E7EC36311}" presName="linear" presStyleCnt="0">
        <dgm:presLayoutVars>
          <dgm:animLvl val="lvl"/>
          <dgm:resizeHandles val="exact"/>
        </dgm:presLayoutVars>
      </dgm:prSet>
      <dgm:spPr/>
    </dgm:pt>
    <dgm:pt modelId="{AAE66C88-09DA-40B7-823E-7E7CC6D7DE8E}" type="pres">
      <dgm:prSet presAssocID="{0F464C63-4435-4BD9-8BC4-6FF8EE571A22}" presName="parentText" presStyleLbl="node1" presStyleIdx="0" presStyleCnt="2">
        <dgm:presLayoutVars>
          <dgm:chMax val="0"/>
          <dgm:bulletEnabled val="1"/>
        </dgm:presLayoutVars>
      </dgm:prSet>
      <dgm:spPr/>
    </dgm:pt>
    <dgm:pt modelId="{5971AD46-9531-45F6-85B5-476B580164AF}" type="pres">
      <dgm:prSet presAssocID="{EE731859-F98E-4AC0-B65B-10DAAE071F54}" presName="spacer" presStyleCnt="0"/>
      <dgm:spPr/>
    </dgm:pt>
    <dgm:pt modelId="{BE5F8009-EB32-4274-A35A-881F3B788EDA}" type="pres">
      <dgm:prSet presAssocID="{67E17738-299F-4FD5-83A3-C7B1C8E6B2C5}" presName="parentText" presStyleLbl="node1" presStyleIdx="1" presStyleCnt="2">
        <dgm:presLayoutVars>
          <dgm:chMax val="0"/>
          <dgm:bulletEnabled val="1"/>
        </dgm:presLayoutVars>
      </dgm:prSet>
      <dgm:spPr/>
    </dgm:pt>
  </dgm:ptLst>
  <dgm:cxnLst>
    <dgm:cxn modelId="{4B0CA908-C5A1-4896-9A5B-F679016F67D6}" srcId="{56040105-1E92-4AB6-BB5C-3C4E7EC36311}" destId="{67E17738-299F-4FD5-83A3-C7B1C8E6B2C5}" srcOrd="1" destOrd="0" parTransId="{99E992C1-87A1-463C-8807-ECFE2ADA73FF}" sibTransId="{AAA0D5D7-8ED2-4B87-ADB1-D44B93C98229}"/>
    <dgm:cxn modelId="{BF640412-4851-42E3-96FC-D39337C2D935}" srcId="{56040105-1E92-4AB6-BB5C-3C4E7EC36311}" destId="{0F464C63-4435-4BD9-8BC4-6FF8EE571A22}" srcOrd="0" destOrd="0" parTransId="{19308289-4E4E-4B5B-95A8-8C099CE2E876}" sibTransId="{EE731859-F98E-4AC0-B65B-10DAAE071F54}"/>
    <dgm:cxn modelId="{B5FCB937-8F4C-4DEA-ADA9-EFD2D4A73E91}" type="presOf" srcId="{67E17738-299F-4FD5-83A3-C7B1C8E6B2C5}" destId="{BE5F8009-EB32-4274-A35A-881F3B788EDA}" srcOrd="0" destOrd="0" presId="urn:microsoft.com/office/officeart/2005/8/layout/vList2"/>
    <dgm:cxn modelId="{22696FEC-5C34-482A-A30B-04FE55D86FF2}" type="presOf" srcId="{56040105-1E92-4AB6-BB5C-3C4E7EC36311}" destId="{DDF3A48C-9044-4623-9CDC-0F23F895C60C}" srcOrd="0" destOrd="0" presId="urn:microsoft.com/office/officeart/2005/8/layout/vList2"/>
    <dgm:cxn modelId="{29559FF1-6A81-4F72-8B56-D683DE35F12B}" type="presOf" srcId="{0F464C63-4435-4BD9-8BC4-6FF8EE571A22}" destId="{AAE66C88-09DA-40B7-823E-7E7CC6D7DE8E}" srcOrd="0" destOrd="0" presId="urn:microsoft.com/office/officeart/2005/8/layout/vList2"/>
    <dgm:cxn modelId="{81ED60A1-122F-4799-8791-37E21D06D28B}" type="presParOf" srcId="{DDF3A48C-9044-4623-9CDC-0F23F895C60C}" destId="{AAE66C88-09DA-40B7-823E-7E7CC6D7DE8E}" srcOrd="0" destOrd="0" presId="urn:microsoft.com/office/officeart/2005/8/layout/vList2"/>
    <dgm:cxn modelId="{98CAF321-56B6-4CF9-885F-7EE28B015ECE}" type="presParOf" srcId="{DDF3A48C-9044-4623-9CDC-0F23F895C60C}" destId="{5971AD46-9531-45F6-85B5-476B580164AF}" srcOrd="1" destOrd="0" presId="urn:microsoft.com/office/officeart/2005/8/layout/vList2"/>
    <dgm:cxn modelId="{66E23153-B81B-4AB3-8CE5-BEBD0CB51CE3}" type="presParOf" srcId="{DDF3A48C-9044-4623-9CDC-0F23F895C60C}" destId="{BE5F8009-EB32-4274-A35A-881F3B788EDA}"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05EADFC-2FAC-4D5E-A6D5-3BC03456B58E}"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175F6F73-FCFC-4DC0-AD75-ED259207FD52}">
      <dgm:prSet custT="1"/>
      <dgm:spPr/>
      <dgm:t>
        <a:bodyPr/>
        <a:lstStyle/>
        <a:p>
          <a:r>
            <a:rPr lang="en-US" sz="3200" baseline="0" dirty="0"/>
            <a:t>SQL Server will flush the log buffer to the log file</a:t>
          </a:r>
          <a:endParaRPr lang="en-US" sz="3200" dirty="0"/>
        </a:p>
      </dgm:t>
    </dgm:pt>
    <dgm:pt modelId="{016FAE5A-306C-47F1-9775-927808989621}" type="parTrans" cxnId="{C31C0E7B-3525-4DAA-BA3B-3553E7C9497B}">
      <dgm:prSet/>
      <dgm:spPr/>
      <dgm:t>
        <a:bodyPr/>
        <a:lstStyle/>
        <a:p>
          <a:endParaRPr lang="en-US"/>
        </a:p>
      </dgm:t>
    </dgm:pt>
    <dgm:pt modelId="{B694F62B-1755-4A2D-925A-C6F7D715882A}" type="sibTrans" cxnId="{C31C0E7B-3525-4DAA-BA3B-3553E7C9497B}">
      <dgm:prSet/>
      <dgm:spPr/>
      <dgm:t>
        <a:bodyPr/>
        <a:lstStyle/>
        <a:p>
          <a:endParaRPr lang="en-US"/>
        </a:p>
      </dgm:t>
    </dgm:pt>
    <dgm:pt modelId="{5A3B8D5C-6FD2-4A8A-951A-EE65A7782C45}">
      <dgm:prSet custT="1"/>
      <dgm:spPr/>
      <dgm:t>
        <a:bodyPr/>
        <a:lstStyle/>
        <a:p>
          <a:r>
            <a:rPr lang="en-US" sz="2400" baseline="0" dirty="0"/>
            <a:t>SQL Server gets a commit request of a transaction that changes data.</a:t>
          </a:r>
          <a:endParaRPr lang="en-US" sz="2400" dirty="0"/>
        </a:p>
      </dgm:t>
    </dgm:pt>
    <dgm:pt modelId="{F3957295-B2F7-4DEF-938E-C041F411F020}" type="parTrans" cxnId="{8E8B1D30-99E2-40B0-B5EE-1B11A59026D1}">
      <dgm:prSet/>
      <dgm:spPr/>
      <dgm:t>
        <a:bodyPr/>
        <a:lstStyle/>
        <a:p>
          <a:endParaRPr lang="en-US"/>
        </a:p>
      </dgm:t>
    </dgm:pt>
    <dgm:pt modelId="{EA02A364-318F-441C-866A-59DF60DFFE76}" type="sibTrans" cxnId="{8E8B1D30-99E2-40B0-B5EE-1B11A59026D1}">
      <dgm:prSet/>
      <dgm:spPr/>
      <dgm:t>
        <a:bodyPr/>
        <a:lstStyle/>
        <a:p>
          <a:endParaRPr lang="en-US"/>
        </a:p>
      </dgm:t>
    </dgm:pt>
    <dgm:pt modelId="{F332BC46-E0CB-4A71-97F1-F186D1A527B5}">
      <dgm:prSet custT="1"/>
      <dgm:spPr/>
      <dgm:t>
        <a:bodyPr/>
        <a:lstStyle/>
        <a:p>
          <a:r>
            <a:rPr lang="en-US" sz="2400" baseline="0" dirty="0"/>
            <a:t>The log buffer fills up. (Max size 60kb.)</a:t>
          </a:r>
          <a:endParaRPr lang="en-US" sz="2400" dirty="0"/>
        </a:p>
      </dgm:t>
    </dgm:pt>
    <dgm:pt modelId="{F224F40A-8DA4-4A07-914B-718936D40C22}" type="parTrans" cxnId="{D311C514-B75F-4CFE-8D69-CB67DE248189}">
      <dgm:prSet/>
      <dgm:spPr/>
      <dgm:t>
        <a:bodyPr/>
        <a:lstStyle/>
        <a:p>
          <a:endParaRPr lang="en-US"/>
        </a:p>
      </dgm:t>
    </dgm:pt>
    <dgm:pt modelId="{B680B321-C17F-4226-B07C-F2346CD3FD8D}" type="sibTrans" cxnId="{D311C514-B75F-4CFE-8D69-CB67DE248189}">
      <dgm:prSet/>
      <dgm:spPr/>
      <dgm:t>
        <a:bodyPr/>
        <a:lstStyle/>
        <a:p>
          <a:endParaRPr lang="en-US"/>
        </a:p>
      </dgm:t>
    </dgm:pt>
    <dgm:pt modelId="{098E019B-6BCE-46E9-AF83-C28DB7B2B120}">
      <dgm:prSet custT="1"/>
      <dgm:spPr/>
      <dgm:t>
        <a:bodyPr/>
        <a:lstStyle/>
        <a:p>
          <a:r>
            <a:rPr lang="en-US" sz="2400" baseline="0" dirty="0"/>
            <a:t>SQL Server needs to harden dirty data pages (checkpoints)</a:t>
          </a:r>
          <a:endParaRPr lang="en-US" sz="2400" dirty="0"/>
        </a:p>
      </dgm:t>
    </dgm:pt>
    <dgm:pt modelId="{90121E53-C160-45FF-9FF5-2ED9851C7580}" type="parTrans" cxnId="{730DB5B7-7DDE-4C17-A497-BD1B9FBC2991}">
      <dgm:prSet/>
      <dgm:spPr/>
      <dgm:t>
        <a:bodyPr/>
        <a:lstStyle/>
        <a:p>
          <a:endParaRPr lang="en-US"/>
        </a:p>
      </dgm:t>
    </dgm:pt>
    <dgm:pt modelId="{B2821825-C4AA-4916-8BF3-CC9879DB8AD0}" type="sibTrans" cxnId="{730DB5B7-7DDE-4C17-A497-BD1B9FBC2991}">
      <dgm:prSet/>
      <dgm:spPr/>
      <dgm:t>
        <a:bodyPr/>
        <a:lstStyle/>
        <a:p>
          <a:endParaRPr lang="en-US"/>
        </a:p>
      </dgm:t>
    </dgm:pt>
    <dgm:pt modelId="{4E6A14CE-D16B-4589-90CD-78297D7492D3}">
      <dgm:prSet custT="1"/>
      <dgm:spPr/>
      <dgm:t>
        <a:bodyPr/>
        <a:lstStyle/>
        <a:p>
          <a:r>
            <a:rPr lang="en-US" sz="2400" baseline="0" dirty="0"/>
            <a:t>Manually request a log buffer flush using the </a:t>
          </a:r>
          <a:r>
            <a:rPr lang="en-US" sz="2400" baseline="0" dirty="0" err="1"/>
            <a:t>sys.sp_flush_log</a:t>
          </a:r>
          <a:r>
            <a:rPr lang="en-US" sz="2400" baseline="0" dirty="0"/>
            <a:t> procedure</a:t>
          </a:r>
          <a:endParaRPr lang="en-US" sz="2400" dirty="0"/>
        </a:p>
      </dgm:t>
    </dgm:pt>
    <dgm:pt modelId="{3519050B-094E-41C1-BA75-B20BCAD50627}" type="parTrans" cxnId="{8F91FEA6-4FF9-469B-AF6E-BD5BDA97E903}">
      <dgm:prSet/>
      <dgm:spPr/>
      <dgm:t>
        <a:bodyPr/>
        <a:lstStyle/>
        <a:p>
          <a:endParaRPr lang="en-US"/>
        </a:p>
      </dgm:t>
    </dgm:pt>
    <dgm:pt modelId="{DBB35BCE-4C01-4E34-A282-91ED28788AC1}" type="sibTrans" cxnId="{8F91FEA6-4FF9-469B-AF6E-BD5BDA97E903}">
      <dgm:prSet/>
      <dgm:spPr/>
      <dgm:t>
        <a:bodyPr/>
        <a:lstStyle/>
        <a:p>
          <a:endParaRPr lang="en-US"/>
        </a:p>
      </dgm:t>
    </dgm:pt>
    <dgm:pt modelId="{9AB92BAE-00FE-48B7-98F0-A94F53DB542D}">
      <dgm:prSet custT="1"/>
      <dgm:spPr/>
      <dgm:t>
        <a:bodyPr/>
        <a:lstStyle/>
        <a:p>
          <a:r>
            <a:rPr lang="en-US" sz="3200" baseline="0" dirty="0"/>
            <a:t>Log buffer flushing results in a WRITELOG wait type.</a:t>
          </a:r>
          <a:endParaRPr lang="en-US" sz="3200" dirty="0"/>
        </a:p>
      </dgm:t>
    </dgm:pt>
    <dgm:pt modelId="{F71DE4A1-BF95-42BA-8178-36785FF80657}" type="parTrans" cxnId="{C6CC31DA-A95E-4B91-95F2-1C77D11B0E1F}">
      <dgm:prSet/>
      <dgm:spPr/>
      <dgm:t>
        <a:bodyPr/>
        <a:lstStyle/>
        <a:p>
          <a:endParaRPr lang="en-US"/>
        </a:p>
      </dgm:t>
    </dgm:pt>
    <dgm:pt modelId="{4D0DCD73-E2A7-4F75-843B-14C3CD1F44D1}" type="sibTrans" cxnId="{C6CC31DA-A95E-4B91-95F2-1C77D11B0E1F}">
      <dgm:prSet/>
      <dgm:spPr/>
      <dgm:t>
        <a:bodyPr/>
        <a:lstStyle/>
        <a:p>
          <a:endParaRPr lang="en-US"/>
        </a:p>
      </dgm:t>
    </dgm:pt>
    <dgm:pt modelId="{C1D1552C-6320-4BC1-860B-3DEB5F6F7969}" type="pres">
      <dgm:prSet presAssocID="{605EADFC-2FAC-4D5E-A6D5-3BC03456B58E}" presName="linear" presStyleCnt="0">
        <dgm:presLayoutVars>
          <dgm:animLvl val="lvl"/>
          <dgm:resizeHandles val="exact"/>
        </dgm:presLayoutVars>
      </dgm:prSet>
      <dgm:spPr/>
    </dgm:pt>
    <dgm:pt modelId="{BD3D046F-8B4E-4968-BA21-B8542A4D65D5}" type="pres">
      <dgm:prSet presAssocID="{175F6F73-FCFC-4DC0-AD75-ED259207FD52}" presName="parentText" presStyleLbl="node1" presStyleIdx="0" presStyleCnt="2" custLinFactNeighborY="-15438">
        <dgm:presLayoutVars>
          <dgm:chMax val="0"/>
          <dgm:bulletEnabled val="1"/>
        </dgm:presLayoutVars>
      </dgm:prSet>
      <dgm:spPr/>
    </dgm:pt>
    <dgm:pt modelId="{90C5942A-676D-4C7E-971D-5ADE5985D74D}" type="pres">
      <dgm:prSet presAssocID="{175F6F73-FCFC-4DC0-AD75-ED259207FD52}" presName="childText" presStyleLbl="revTx" presStyleIdx="0" presStyleCnt="1" custLinFactNeighborY="-21900">
        <dgm:presLayoutVars>
          <dgm:bulletEnabled val="1"/>
        </dgm:presLayoutVars>
      </dgm:prSet>
      <dgm:spPr/>
    </dgm:pt>
    <dgm:pt modelId="{D145050A-2D0A-48DE-B8EB-0A9036A8EE26}" type="pres">
      <dgm:prSet presAssocID="{9AB92BAE-00FE-48B7-98F0-A94F53DB542D}" presName="parentText" presStyleLbl="node1" presStyleIdx="1" presStyleCnt="2" custLinFactNeighborY="-13446">
        <dgm:presLayoutVars>
          <dgm:chMax val="0"/>
          <dgm:bulletEnabled val="1"/>
        </dgm:presLayoutVars>
      </dgm:prSet>
      <dgm:spPr/>
    </dgm:pt>
  </dgm:ptLst>
  <dgm:cxnLst>
    <dgm:cxn modelId="{8AD1980F-BD5D-43B0-8C5B-8F3F6CE43866}" type="presOf" srcId="{175F6F73-FCFC-4DC0-AD75-ED259207FD52}" destId="{BD3D046F-8B4E-4968-BA21-B8542A4D65D5}" srcOrd="0" destOrd="0" presId="urn:microsoft.com/office/officeart/2005/8/layout/vList2"/>
    <dgm:cxn modelId="{D311C514-B75F-4CFE-8D69-CB67DE248189}" srcId="{175F6F73-FCFC-4DC0-AD75-ED259207FD52}" destId="{F332BC46-E0CB-4A71-97F1-F186D1A527B5}" srcOrd="1" destOrd="0" parTransId="{F224F40A-8DA4-4A07-914B-718936D40C22}" sibTransId="{B680B321-C17F-4226-B07C-F2346CD3FD8D}"/>
    <dgm:cxn modelId="{6EBB531B-168F-4083-B022-86AE2DA6210B}" type="presOf" srcId="{4E6A14CE-D16B-4589-90CD-78297D7492D3}" destId="{90C5942A-676D-4C7E-971D-5ADE5985D74D}" srcOrd="0" destOrd="3" presId="urn:microsoft.com/office/officeart/2005/8/layout/vList2"/>
    <dgm:cxn modelId="{8E8B1D30-99E2-40B0-B5EE-1B11A59026D1}" srcId="{175F6F73-FCFC-4DC0-AD75-ED259207FD52}" destId="{5A3B8D5C-6FD2-4A8A-951A-EE65A7782C45}" srcOrd="0" destOrd="0" parTransId="{F3957295-B2F7-4DEF-938E-C041F411F020}" sibTransId="{EA02A364-318F-441C-866A-59DF60DFFE76}"/>
    <dgm:cxn modelId="{66D9B832-7D49-40B9-BE8F-BD085D074B8B}" type="presOf" srcId="{9AB92BAE-00FE-48B7-98F0-A94F53DB542D}" destId="{D145050A-2D0A-48DE-B8EB-0A9036A8EE26}" srcOrd="0" destOrd="0" presId="urn:microsoft.com/office/officeart/2005/8/layout/vList2"/>
    <dgm:cxn modelId="{C4A87C72-9854-4D44-B2EF-1DE1919C7C9A}" type="presOf" srcId="{5A3B8D5C-6FD2-4A8A-951A-EE65A7782C45}" destId="{90C5942A-676D-4C7E-971D-5ADE5985D74D}" srcOrd="0" destOrd="0" presId="urn:microsoft.com/office/officeart/2005/8/layout/vList2"/>
    <dgm:cxn modelId="{E7F9CC75-E738-4F4D-8AB2-5681F1C8DB72}" type="presOf" srcId="{F332BC46-E0CB-4A71-97F1-F186D1A527B5}" destId="{90C5942A-676D-4C7E-971D-5ADE5985D74D}" srcOrd="0" destOrd="1" presId="urn:microsoft.com/office/officeart/2005/8/layout/vList2"/>
    <dgm:cxn modelId="{C31C0E7B-3525-4DAA-BA3B-3553E7C9497B}" srcId="{605EADFC-2FAC-4D5E-A6D5-3BC03456B58E}" destId="{175F6F73-FCFC-4DC0-AD75-ED259207FD52}" srcOrd="0" destOrd="0" parTransId="{016FAE5A-306C-47F1-9775-927808989621}" sibTransId="{B694F62B-1755-4A2D-925A-C6F7D715882A}"/>
    <dgm:cxn modelId="{8F91FEA6-4FF9-469B-AF6E-BD5BDA97E903}" srcId="{175F6F73-FCFC-4DC0-AD75-ED259207FD52}" destId="{4E6A14CE-D16B-4589-90CD-78297D7492D3}" srcOrd="3" destOrd="0" parTransId="{3519050B-094E-41C1-BA75-B20BCAD50627}" sibTransId="{DBB35BCE-4C01-4E34-A282-91ED28788AC1}"/>
    <dgm:cxn modelId="{11DE65AD-E3A2-401F-A685-BE2971234970}" type="presOf" srcId="{605EADFC-2FAC-4D5E-A6D5-3BC03456B58E}" destId="{C1D1552C-6320-4BC1-860B-3DEB5F6F7969}" srcOrd="0" destOrd="0" presId="urn:microsoft.com/office/officeart/2005/8/layout/vList2"/>
    <dgm:cxn modelId="{1C92DAB3-CB88-490C-922F-AA2C468B43B8}" type="presOf" srcId="{098E019B-6BCE-46E9-AF83-C28DB7B2B120}" destId="{90C5942A-676D-4C7E-971D-5ADE5985D74D}" srcOrd="0" destOrd="2" presId="urn:microsoft.com/office/officeart/2005/8/layout/vList2"/>
    <dgm:cxn modelId="{730DB5B7-7DDE-4C17-A497-BD1B9FBC2991}" srcId="{175F6F73-FCFC-4DC0-AD75-ED259207FD52}" destId="{098E019B-6BCE-46E9-AF83-C28DB7B2B120}" srcOrd="2" destOrd="0" parTransId="{90121E53-C160-45FF-9FF5-2ED9851C7580}" sibTransId="{B2821825-C4AA-4916-8BF3-CC9879DB8AD0}"/>
    <dgm:cxn modelId="{C6CC31DA-A95E-4B91-95F2-1C77D11B0E1F}" srcId="{605EADFC-2FAC-4D5E-A6D5-3BC03456B58E}" destId="{9AB92BAE-00FE-48B7-98F0-A94F53DB542D}" srcOrd="1" destOrd="0" parTransId="{F71DE4A1-BF95-42BA-8178-36785FF80657}" sibTransId="{4D0DCD73-E2A7-4F75-843B-14C3CD1F44D1}"/>
    <dgm:cxn modelId="{24F715CD-22BB-4D38-B6B8-61733A2A011C}" type="presParOf" srcId="{C1D1552C-6320-4BC1-860B-3DEB5F6F7969}" destId="{BD3D046F-8B4E-4968-BA21-B8542A4D65D5}" srcOrd="0" destOrd="0" presId="urn:microsoft.com/office/officeart/2005/8/layout/vList2"/>
    <dgm:cxn modelId="{84E5DEAD-0333-4EA4-BC31-F648445B15A3}" type="presParOf" srcId="{C1D1552C-6320-4BC1-860B-3DEB5F6F7969}" destId="{90C5942A-676D-4C7E-971D-5ADE5985D74D}" srcOrd="1" destOrd="0" presId="urn:microsoft.com/office/officeart/2005/8/layout/vList2"/>
    <dgm:cxn modelId="{887F53D1-CF50-4524-818C-1FD6221C9A16}" type="presParOf" srcId="{C1D1552C-6320-4BC1-860B-3DEB5F6F7969}" destId="{D145050A-2D0A-48DE-B8EB-0A9036A8EE26}"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818F98-D77E-404D-8396-2CD567FBCDCB}">
      <dsp:nvSpPr>
        <dsp:cNvPr id="0" name=""/>
        <dsp:cNvSpPr/>
      </dsp:nvSpPr>
      <dsp:spPr>
        <a:xfrm>
          <a:off x="0" y="16106"/>
          <a:ext cx="7421562" cy="148809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A data page is the fundamental unit of data storage in SQL Server.</a:t>
          </a:r>
          <a:endParaRPr lang="en-US" sz="2500" kern="1200" dirty="0"/>
        </a:p>
      </dsp:txBody>
      <dsp:txXfrm>
        <a:off x="72643" y="88749"/>
        <a:ext cx="7276276" cy="1342807"/>
      </dsp:txXfrm>
    </dsp:sp>
    <dsp:sp modelId="{4E07E69E-F0D7-4C1A-ABB4-C91FBDE32562}">
      <dsp:nvSpPr>
        <dsp:cNvPr id="0" name=""/>
        <dsp:cNvSpPr/>
      </dsp:nvSpPr>
      <dsp:spPr>
        <a:xfrm>
          <a:off x="0" y="1504200"/>
          <a:ext cx="7421562" cy="1811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35"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The disk space allocated to a data file (.mdf or .ndf) is logically divided into pages.</a:t>
          </a:r>
          <a:endParaRPr lang="en-US" sz="2000" kern="1200"/>
        </a:p>
        <a:p>
          <a:pPr marL="228600" lvl="1" indent="-228600" algn="l" defTabSz="889000">
            <a:lnSpc>
              <a:spcPct val="90000"/>
            </a:lnSpc>
            <a:spcBef>
              <a:spcPct val="0"/>
            </a:spcBef>
            <a:spcAft>
              <a:spcPct val="20000"/>
            </a:spcAft>
            <a:buChar char="•"/>
          </a:pPr>
          <a:r>
            <a:rPr lang="en-US" sz="2000" kern="1200" baseline="0"/>
            <a:t>Each page is 8 KB in size</a:t>
          </a:r>
          <a:endParaRPr lang="en-US" sz="2000" kern="1200"/>
        </a:p>
        <a:p>
          <a:pPr marL="228600" lvl="1" indent="-228600" algn="l" defTabSz="889000">
            <a:lnSpc>
              <a:spcPct val="90000"/>
            </a:lnSpc>
            <a:spcBef>
              <a:spcPct val="0"/>
            </a:spcBef>
            <a:spcAft>
              <a:spcPct val="20000"/>
            </a:spcAft>
            <a:buChar char="•"/>
          </a:pPr>
          <a:r>
            <a:rPr lang="en-US" sz="2000" kern="1200" baseline="0"/>
            <a:t>Pages are numbered contiguously from 0 to n. </a:t>
          </a:r>
          <a:endParaRPr lang="en-US" sz="2000" kern="1200"/>
        </a:p>
        <a:p>
          <a:pPr marL="228600" lvl="1" indent="-228600" algn="l" defTabSz="889000">
            <a:lnSpc>
              <a:spcPct val="90000"/>
            </a:lnSpc>
            <a:spcBef>
              <a:spcPct val="0"/>
            </a:spcBef>
            <a:spcAft>
              <a:spcPct val="20000"/>
            </a:spcAft>
            <a:buChar char="•"/>
          </a:pPr>
          <a:r>
            <a:rPr lang="en-US" sz="2000" kern="1200" baseline="0"/>
            <a:t>Disk I/O operations are performed at the page level.</a:t>
          </a:r>
          <a:endParaRPr lang="en-US" sz="2000" kern="1200"/>
        </a:p>
      </dsp:txBody>
      <dsp:txXfrm>
        <a:off x="0" y="1504200"/>
        <a:ext cx="7421562" cy="1811250"/>
      </dsp:txXfrm>
    </dsp:sp>
    <dsp:sp modelId="{1B848AEE-BC85-4AA9-8DEF-430F253DFCD7}">
      <dsp:nvSpPr>
        <dsp:cNvPr id="0" name=""/>
        <dsp:cNvSpPr/>
      </dsp:nvSpPr>
      <dsp:spPr>
        <a:xfrm>
          <a:off x="0" y="3315450"/>
          <a:ext cx="7421562" cy="148809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Extents are a collection of eight physically contiguous pages (64KB) and are used to efficiently manage the pages. </a:t>
          </a:r>
          <a:endParaRPr lang="en-US" sz="2500" kern="1200" dirty="0"/>
        </a:p>
      </dsp:txBody>
      <dsp:txXfrm>
        <a:off x="72643" y="3388093"/>
        <a:ext cx="7276276" cy="134280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A805E4-2107-49A3-BD77-3C70BA121985}">
      <dsp:nvSpPr>
        <dsp:cNvPr id="0" name=""/>
        <dsp:cNvSpPr/>
      </dsp:nvSpPr>
      <dsp:spPr>
        <a:xfrm>
          <a:off x="0" y="37756"/>
          <a:ext cx="9906000" cy="9523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Automatic</a:t>
          </a:r>
          <a:r>
            <a:rPr lang="en-US" sz="2200" kern="1200" dirty="0"/>
            <a:t> (default) – Database engine issues checkpoints automatically based on the server level “recovery interval” configuration option</a:t>
          </a:r>
        </a:p>
      </dsp:txBody>
      <dsp:txXfrm>
        <a:off x="46491" y="84247"/>
        <a:ext cx="9813018" cy="859398"/>
      </dsp:txXfrm>
    </dsp:sp>
    <dsp:sp modelId="{95DD3C3F-6913-4DF8-BA60-D5B77EE51AD0}">
      <dsp:nvSpPr>
        <dsp:cNvPr id="0" name=""/>
        <dsp:cNvSpPr/>
      </dsp:nvSpPr>
      <dsp:spPr>
        <a:xfrm>
          <a:off x="0" y="1053496"/>
          <a:ext cx="9906000" cy="9523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Indirect</a:t>
          </a:r>
          <a:r>
            <a:rPr lang="en-US" sz="2200" kern="1200" dirty="0"/>
            <a:t> (new in SQL Server 2012) – Database engine issues checkpoints automatically based on the database level TARGET_RECOVERY_TIME</a:t>
          </a:r>
        </a:p>
      </dsp:txBody>
      <dsp:txXfrm>
        <a:off x="46491" y="1099987"/>
        <a:ext cx="9813018" cy="859398"/>
      </dsp:txXfrm>
    </dsp:sp>
    <dsp:sp modelId="{AE6B6D19-C792-4D73-A9A4-722404BFC6F5}">
      <dsp:nvSpPr>
        <dsp:cNvPr id="0" name=""/>
        <dsp:cNvSpPr/>
      </dsp:nvSpPr>
      <dsp:spPr>
        <a:xfrm>
          <a:off x="0" y="2005876"/>
          <a:ext cx="9906000" cy="364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4516" tIns="27940" rIns="156464" bIns="27940" numCol="1" spcCol="1270" anchor="t" anchorCtr="0">
          <a:noAutofit/>
        </a:bodyPr>
        <a:lstStyle/>
        <a:p>
          <a:pPr marL="171450" lvl="1" indent="-171450" algn="l" defTabSz="755650">
            <a:lnSpc>
              <a:spcPct val="90000"/>
            </a:lnSpc>
            <a:spcBef>
              <a:spcPct val="0"/>
            </a:spcBef>
            <a:spcAft>
              <a:spcPct val="20000"/>
            </a:spcAft>
            <a:buChar char="•"/>
          </a:pPr>
          <a:endParaRPr lang="en-US" sz="1700" kern="1200" dirty="0"/>
        </a:p>
      </dsp:txBody>
      <dsp:txXfrm>
        <a:off x="0" y="2005876"/>
        <a:ext cx="9906000" cy="364320"/>
      </dsp:txXfrm>
    </dsp:sp>
    <dsp:sp modelId="{191229E1-A669-4C80-929D-90658F54B41C}">
      <dsp:nvSpPr>
        <dsp:cNvPr id="0" name=""/>
        <dsp:cNvSpPr/>
      </dsp:nvSpPr>
      <dsp:spPr>
        <a:xfrm>
          <a:off x="0" y="2370197"/>
          <a:ext cx="9906000" cy="9523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Manual</a:t>
          </a:r>
          <a:r>
            <a:rPr lang="en-US" sz="2200" kern="1200" dirty="0"/>
            <a:t> – Issued in the current database for your connection when you execute the T-SQL CHECKPOINT command</a:t>
          </a:r>
        </a:p>
      </dsp:txBody>
      <dsp:txXfrm>
        <a:off x="46491" y="2416688"/>
        <a:ext cx="9813018" cy="859398"/>
      </dsp:txXfrm>
    </dsp:sp>
    <dsp:sp modelId="{9FB0B889-7813-4D35-8556-384C3E45CE9B}">
      <dsp:nvSpPr>
        <dsp:cNvPr id="0" name=""/>
        <dsp:cNvSpPr/>
      </dsp:nvSpPr>
      <dsp:spPr>
        <a:xfrm>
          <a:off x="0" y="3385937"/>
          <a:ext cx="9906000" cy="9523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Internal</a:t>
          </a:r>
          <a:r>
            <a:rPr lang="en-US" sz="2200" kern="1200" dirty="0"/>
            <a:t> – Issued by various server operations</a:t>
          </a:r>
        </a:p>
      </dsp:txBody>
      <dsp:txXfrm>
        <a:off x="46491" y="3432428"/>
        <a:ext cx="9813018" cy="85939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184" y="859045"/>
          <a:ext cx="1718203" cy="171820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CPU Time (RUNNING)</a:t>
          </a:r>
          <a:endParaRPr lang="pt-PT" sz="1500" kern="1200">
            <a:latin typeface="Segoe UI Light" panose="020B0502040204020203" pitchFamily="34" charset="0"/>
            <a:cs typeface="Segoe UI Light" panose="020B0502040204020203" pitchFamily="34" charset="0"/>
          </a:endParaRPr>
        </a:p>
      </dsp:txBody>
      <dsp:txXfrm>
        <a:off x="257809" y="1110670"/>
        <a:ext cx="1214953" cy="1214953"/>
      </dsp:txXfrm>
    </dsp:sp>
    <dsp:sp modelId="{6673E2C0-687C-4813-9CDF-C1D7AB877466}">
      <dsp:nvSpPr>
        <dsp:cNvPr id="0" name=""/>
        <dsp:cNvSpPr/>
      </dsp:nvSpPr>
      <dsp:spPr>
        <a:xfrm>
          <a:off x="1863906" y="1219868"/>
          <a:ext cx="996558" cy="996558"/>
        </a:xfrm>
        <a:prstGeom prst="mathPlus">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PT" sz="1200" kern="1200">
            <a:latin typeface="Segoe UI Light" panose="020B0502040204020203" pitchFamily="34" charset="0"/>
            <a:cs typeface="Segoe UI Light" panose="020B0502040204020203" pitchFamily="34" charset="0"/>
          </a:endParaRPr>
        </a:p>
      </dsp:txBody>
      <dsp:txXfrm>
        <a:off x="1996000" y="1600952"/>
        <a:ext cx="732370" cy="234390"/>
      </dsp:txXfrm>
    </dsp:sp>
    <dsp:sp modelId="{10CBBA21-79EB-41F6-B412-F391EAA0507A}">
      <dsp:nvSpPr>
        <dsp:cNvPr id="0" name=""/>
        <dsp:cNvSpPr/>
      </dsp:nvSpPr>
      <dsp:spPr>
        <a:xfrm>
          <a:off x="2999982" y="859045"/>
          <a:ext cx="1718203" cy="1718203"/>
        </a:xfrm>
        <a:prstGeom prst="ellipse">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Signal Wait Time (RUNNABLE)</a:t>
          </a:r>
          <a:endParaRPr lang="pt-PT" sz="1500" kern="1200">
            <a:latin typeface="Segoe UI Light" panose="020B0502040204020203" pitchFamily="34" charset="0"/>
            <a:cs typeface="Segoe UI Light" panose="020B0502040204020203" pitchFamily="34" charset="0"/>
          </a:endParaRPr>
        </a:p>
      </dsp:txBody>
      <dsp:txXfrm>
        <a:off x="3251607" y="1110670"/>
        <a:ext cx="1214953" cy="1214953"/>
      </dsp:txXfrm>
    </dsp:sp>
    <dsp:sp modelId="{8B0DDA86-1B95-48DA-B6BA-3D7A249A161A}">
      <dsp:nvSpPr>
        <dsp:cNvPr id="0" name=""/>
        <dsp:cNvSpPr/>
      </dsp:nvSpPr>
      <dsp:spPr>
        <a:xfrm>
          <a:off x="4857703" y="1219868"/>
          <a:ext cx="996558" cy="996558"/>
        </a:xfrm>
        <a:prstGeom prst="mathPlus">
          <a:avLst/>
        </a:prstGeom>
        <a:solidFill>
          <a:schemeClr val="accent2">
            <a:hueOff val="-1333748"/>
            <a:satOff val="27691"/>
            <a:lumOff val="29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89797" y="1600952"/>
        <a:ext cx="732370" cy="234390"/>
      </dsp:txXfrm>
    </dsp:sp>
    <dsp:sp modelId="{8654DA70-295E-47B4-95D9-098230C9A89A}">
      <dsp:nvSpPr>
        <dsp:cNvPr id="0" name=""/>
        <dsp:cNvSpPr/>
      </dsp:nvSpPr>
      <dsp:spPr>
        <a:xfrm>
          <a:off x="5993780" y="859045"/>
          <a:ext cx="1718203" cy="1718203"/>
        </a:xfrm>
        <a:prstGeom prst="ellipse">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Resource Wait Time (SUSPENDED)</a:t>
          </a:r>
          <a:endParaRPr lang="pt-PT" sz="1500" kern="1200">
            <a:latin typeface="Segoe UI Light" panose="020B0502040204020203" pitchFamily="34" charset="0"/>
            <a:cs typeface="Segoe UI Light" panose="020B0502040204020203" pitchFamily="34" charset="0"/>
          </a:endParaRPr>
        </a:p>
      </dsp:txBody>
      <dsp:txXfrm>
        <a:off x="6245405" y="1110670"/>
        <a:ext cx="1214953" cy="1214953"/>
      </dsp:txXfrm>
    </dsp:sp>
    <dsp:sp modelId="{46BABBF9-D006-443D-8111-5C6F404BF7AA}">
      <dsp:nvSpPr>
        <dsp:cNvPr id="0" name=""/>
        <dsp:cNvSpPr/>
      </dsp:nvSpPr>
      <dsp:spPr>
        <a:xfrm>
          <a:off x="7851501" y="1219868"/>
          <a:ext cx="996558" cy="996558"/>
        </a:xfrm>
        <a:prstGeom prst="mathEqual">
          <a:avLst/>
        </a:prstGeom>
        <a:solidFill>
          <a:schemeClr val="accent2">
            <a:hueOff val="-2667497"/>
            <a:satOff val="55382"/>
            <a:lumOff val="58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983595" y="1425159"/>
        <a:ext cx="732370" cy="585976"/>
      </dsp:txXfrm>
    </dsp:sp>
    <dsp:sp modelId="{1E63E032-A34B-40F9-9996-7094989E1D20}">
      <dsp:nvSpPr>
        <dsp:cNvPr id="0" name=""/>
        <dsp:cNvSpPr/>
      </dsp:nvSpPr>
      <dsp:spPr>
        <a:xfrm>
          <a:off x="8987577" y="859045"/>
          <a:ext cx="1718203" cy="1718203"/>
        </a:xfrm>
        <a:prstGeom prst="ellipse">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pt-PT" sz="1500" kern="1200">
              <a:latin typeface="Segoe UI Light" panose="020B0502040204020203" pitchFamily="34" charset="0"/>
              <a:cs typeface="Segoe UI Light" panose="020B0502040204020203" pitchFamily="34" charset="0"/>
            </a:rPr>
            <a:t>Total Query Response Time</a:t>
          </a:r>
        </a:p>
      </dsp:txBody>
      <dsp:txXfrm>
        <a:off x="9239202" y="1110670"/>
        <a:ext cx="1214953" cy="121495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6FE764-EFB2-4CCA-A2B9-B34483D9B850}">
      <dsp:nvSpPr>
        <dsp:cNvPr id="0" name=""/>
        <dsp:cNvSpPr/>
      </dsp:nvSpPr>
      <dsp:spPr>
        <a:xfrm>
          <a:off x="0" y="16753"/>
          <a:ext cx="10880725" cy="692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err="1">
              <a:latin typeface="+mn-lt"/>
              <a:ea typeface="+mn-ea"/>
              <a:cs typeface="Segoe UI Light" panose="020B0502040204020203" pitchFamily="34" charset="0"/>
            </a:rPr>
            <a:t>PAGELATCH_xx</a:t>
          </a:r>
          <a:endParaRPr lang="en-US" sz="2000" kern="1200" dirty="0">
            <a:latin typeface="+mn-lt"/>
            <a:ea typeface="+mn-ea"/>
            <a:cs typeface="Segoe UI Light" panose="020B0502040204020203" pitchFamily="34" charset="0"/>
          </a:endParaRPr>
        </a:p>
      </dsp:txBody>
      <dsp:txXfrm>
        <a:off x="33812" y="50565"/>
        <a:ext cx="10813101" cy="625016"/>
      </dsp:txXfrm>
    </dsp:sp>
    <dsp:sp modelId="{4CC04AD1-E2E1-4F58-97A7-EE8F72B95588}">
      <dsp:nvSpPr>
        <dsp:cNvPr id="0" name=""/>
        <dsp:cNvSpPr/>
      </dsp:nvSpPr>
      <dsp:spPr>
        <a:xfrm>
          <a:off x="0" y="709393"/>
          <a:ext cx="10880725" cy="1033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Indicates contention for access to buffers (in-memory copies of pages).</a:t>
          </a:r>
        </a:p>
        <a:p>
          <a:pPr marL="228600" lvl="1" indent="-228600" algn="l" defTabSz="889000">
            <a:lnSpc>
              <a:spcPct val="90000"/>
            </a:lnSpc>
            <a:spcBef>
              <a:spcPct val="0"/>
            </a:spcBef>
            <a:spcAft>
              <a:spcPct val="20000"/>
            </a:spcAft>
            <a:buChar char="•"/>
          </a:pPr>
          <a:r>
            <a:rPr lang="en-US" sz="2000" kern="1200" spc="0" baseline="0">
              <a:latin typeface="+mn-lt"/>
              <a:ea typeface="+mn-ea"/>
              <a:cs typeface="Segoe UI" panose="020B0502040204020203" pitchFamily="34" charset="0"/>
            </a:rPr>
            <a:t>If PFS, SGAM, and GAM then it is allocation contention (updating allocation metadata), namely in TempDB.</a:t>
          </a:r>
          <a:endParaRPr lang="en-US" sz="2000" kern="1200" spc="0" baseline="0" dirty="0">
            <a:latin typeface="+mn-lt"/>
            <a:ea typeface="+mn-ea"/>
            <a:cs typeface="Segoe UI" panose="020B0502040204020203" pitchFamily="34" charset="0"/>
          </a:endParaRPr>
        </a:p>
      </dsp:txBody>
      <dsp:txXfrm>
        <a:off x="0" y="709393"/>
        <a:ext cx="10880725" cy="1033965"/>
      </dsp:txXfrm>
    </dsp:sp>
    <dsp:sp modelId="{AA6AB426-7ED9-4EDC-8238-20D76A8710DD}">
      <dsp:nvSpPr>
        <dsp:cNvPr id="0" name=""/>
        <dsp:cNvSpPr/>
      </dsp:nvSpPr>
      <dsp:spPr>
        <a:xfrm>
          <a:off x="0" y="1743358"/>
          <a:ext cx="10880725" cy="692640"/>
        </a:xfrm>
        <a:prstGeom prst="round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err="1">
              <a:latin typeface="+mn-lt"/>
              <a:ea typeface="+mn-ea"/>
              <a:cs typeface="Segoe UI Light" panose="020B0502040204020203" pitchFamily="34" charset="0"/>
            </a:rPr>
            <a:t>PAGEIOLATCH_xx</a:t>
          </a:r>
          <a:endParaRPr lang="en-US" sz="2000" kern="1200" dirty="0">
            <a:latin typeface="+mn-lt"/>
            <a:ea typeface="+mn-ea"/>
            <a:cs typeface="Segoe UI Light" panose="020B0502040204020203" pitchFamily="34" charset="0"/>
          </a:endParaRPr>
        </a:p>
      </dsp:txBody>
      <dsp:txXfrm>
        <a:off x="33812" y="1777170"/>
        <a:ext cx="10813101" cy="625016"/>
      </dsp:txXfrm>
    </dsp:sp>
    <dsp:sp modelId="{E9E377CF-33ED-4F79-B1CB-9910258DD5C5}">
      <dsp:nvSpPr>
        <dsp:cNvPr id="0" name=""/>
        <dsp:cNvSpPr/>
      </dsp:nvSpPr>
      <dsp:spPr>
        <a:xfrm>
          <a:off x="0" y="2435998"/>
          <a:ext cx="10880725" cy="1416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a:latin typeface="+mn-lt"/>
              <a:ea typeface="+mn-ea"/>
              <a:cs typeface="Segoe UI" panose="020B0502040204020203" pitchFamily="34" charset="0"/>
            </a:rPr>
            <a:t>Indicates I/O problems in data pages.</a:t>
          </a:r>
          <a:endParaRPr lang="en-US" sz="2000" kern="1200" spc="0" baseline="0" dirty="0">
            <a:latin typeface="+mn-lt"/>
            <a:ea typeface="+mn-ea"/>
            <a:cs typeface="Segoe UI" panose="020B0502040204020203" pitchFamily="34" charset="0"/>
          </a:endParaRPr>
        </a:p>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Validate disk and memory </a:t>
          </a:r>
          <a:r>
            <a:rPr lang="en-US" sz="2000" kern="1200" spc="0" baseline="0" dirty="0" err="1">
              <a:latin typeface="+mn-lt"/>
              <a:ea typeface="+mn-ea"/>
              <a:cs typeface="Segoe UI" panose="020B0502040204020203" pitchFamily="34" charset="0"/>
            </a:rPr>
            <a:t>perfmon</a:t>
          </a:r>
          <a:r>
            <a:rPr lang="en-US" sz="2000" kern="1200" spc="0" baseline="0" dirty="0">
              <a:latin typeface="+mn-lt"/>
              <a:ea typeface="+mn-ea"/>
              <a:cs typeface="Segoe UI" panose="020B0502040204020203" pitchFamily="34" charset="0"/>
            </a:rPr>
            <a:t> counters and the SQL </a:t>
          </a:r>
          <a:r>
            <a:rPr lang="en-US" sz="2000" kern="1200" spc="0" baseline="0" dirty="0" err="1">
              <a:latin typeface="+mn-lt"/>
              <a:ea typeface="+mn-ea"/>
              <a:cs typeface="Segoe UI" panose="020B0502040204020203" pitchFamily="34" charset="0"/>
            </a:rPr>
            <a:t>Errorlogs</a:t>
          </a:r>
          <a:r>
            <a:rPr lang="en-US" sz="2000" kern="1200" spc="0" baseline="0" dirty="0">
              <a:latin typeface="+mn-lt"/>
              <a:ea typeface="+mn-ea"/>
              <a:cs typeface="Segoe UI" panose="020B0502040204020203" pitchFamily="34" charset="0"/>
            </a:rPr>
            <a:t> (for error 833 “I/O taking longer than 15 seconds”).</a:t>
          </a:r>
        </a:p>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Examine the virtual file stats DMV.</a:t>
          </a:r>
        </a:p>
      </dsp:txBody>
      <dsp:txXfrm>
        <a:off x="0" y="2435998"/>
        <a:ext cx="10880725" cy="1416915"/>
      </dsp:txXfrm>
    </dsp:sp>
    <dsp:sp modelId="{E65CCEDE-8C32-4DBE-B065-7DCA0D429E00}">
      <dsp:nvSpPr>
        <dsp:cNvPr id="0" name=""/>
        <dsp:cNvSpPr/>
      </dsp:nvSpPr>
      <dsp:spPr>
        <a:xfrm>
          <a:off x="0" y="3852913"/>
          <a:ext cx="10880725" cy="69264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latin typeface="+mn-lt"/>
              <a:ea typeface="+mn-ea"/>
              <a:cs typeface="Segoe UI Light" panose="020B0502040204020203" pitchFamily="34" charset="0"/>
            </a:rPr>
            <a:t>WRITELOG</a:t>
          </a:r>
          <a:endParaRPr lang="en-US" sz="2000" kern="1200" spc="0" baseline="0" dirty="0">
            <a:latin typeface="+mn-lt"/>
            <a:ea typeface="+mn-ea"/>
            <a:cs typeface="Segoe UI" panose="020B0502040204020203" pitchFamily="34" charset="0"/>
          </a:endParaRPr>
        </a:p>
      </dsp:txBody>
      <dsp:txXfrm>
        <a:off x="33812" y="3886725"/>
        <a:ext cx="10813101" cy="625016"/>
      </dsp:txXfrm>
    </dsp:sp>
    <dsp:sp modelId="{6FD9EA1F-D84D-4FB7-BD06-6611B41ACE7D}">
      <dsp:nvSpPr>
        <dsp:cNvPr id="0" name=""/>
        <dsp:cNvSpPr/>
      </dsp:nvSpPr>
      <dsp:spPr>
        <a:xfrm>
          <a:off x="0" y="4545553"/>
          <a:ext cx="10880725"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Waiting for a log flush to disk</a:t>
          </a:r>
        </a:p>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Examine the I/O latency for the log file</a:t>
          </a:r>
        </a:p>
      </dsp:txBody>
      <dsp:txXfrm>
        <a:off x="0" y="4545553"/>
        <a:ext cx="10880725" cy="72760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B8176-FE73-455E-A408-4ED82BDA8BB7}">
      <dsp:nvSpPr>
        <dsp:cNvPr id="0" name=""/>
        <dsp:cNvSpPr/>
      </dsp:nvSpPr>
      <dsp:spPr>
        <a:xfrm>
          <a:off x="0" y="15712"/>
          <a:ext cx="5644954"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isk Reads/sec, Writes/sec and Transfers/sec</a:t>
          </a:r>
          <a:endParaRPr lang="en-US" sz="2400" kern="1200" dirty="0"/>
        </a:p>
      </dsp:txBody>
      <dsp:txXfrm>
        <a:off x="59399" y="75111"/>
        <a:ext cx="5526156" cy="1098002"/>
      </dsp:txXfrm>
    </dsp:sp>
    <dsp:sp modelId="{CB549A76-B9B1-4079-826D-F762A043CE42}">
      <dsp:nvSpPr>
        <dsp:cNvPr id="0" name=""/>
        <dsp:cNvSpPr/>
      </dsp:nvSpPr>
      <dsp:spPr>
        <a:xfrm>
          <a:off x="0" y="1232512"/>
          <a:ext cx="5644954" cy="12782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22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Indicates the </a:t>
          </a:r>
          <a:r>
            <a:rPr lang="en-US" sz="2000" b="1" kern="1200" baseline="0" dirty="0"/>
            <a:t>IOPS</a:t>
          </a:r>
          <a:r>
            <a:rPr lang="en-US" sz="2000" kern="1200" baseline="0" dirty="0"/>
            <a:t> (</a:t>
          </a:r>
          <a:r>
            <a:rPr lang="en-US" sz="2000" kern="1200" baseline="0" dirty="0" err="1"/>
            <a:t>Input/Output</a:t>
          </a:r>
          <a:r>
            <a:rPr lang="en-US" sz="2000" kern="1200" baseline="0" dirty="0"/>
            <a:t> Operations Per Second) as perceived by the operating system. This value could differ from the hardware IOPS.</a:t>
          </a:r>
          <a:endParaRPr lang="en-US" sz="2000" kern="1200" dirty="0"/>
        </a:p>
      </dsp:txBody>
      <dsp:txXfrm>
        <a:off x="0" y="1232512"/>
        <a:ext cx="5644954" cy="1278225"/>
      </dsp:txXfrm>
    </dsp:sp>
    <dsp:sp modelId="{F60453CE-C2DA-44AB-9366-D722DC8CC85B}">
      <dsp:nvSpPr>
        <dsp:cNvPr id="0" name=""/>
        <dsp:cNvSpPr/>
      </dsp:nvSpPr>
      <dsp:spPr>
        <a:xfrm>
          <a:off x="0" y="2510737"/>
          <a:ext cx="5644954"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vg. Disk sec/Read, and Avg. Disk sec/Write</a:t>
          </a:r>
          <a:endParaRPr lang="en-US" sz="2400" kern="1200" dirty="0"/>
        </a:p>
      </dsp:txBody>
      <dsp:txXfrm>
        <a:off x="59399" y="2570136"/>
        <a:ext cx="5526156" cy="1098002"/>
      </dsp:txXfrm>
    </dsp:sp>
    <dsp:sp modelId="{33B71304-C9AF-49A0-A89B-DB7438B7BACF}">
      <dsp:nvSpPr>
        <dsp:cNvPr id="0" name=""/>
        <dsp:cNvSpPr/>
      </dsp:nvSpPr>
      <dsp:spPr>
        <a:xfrm>
          <a:off x="0" y="3727537"/>
          <a:ext cx="5644954"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22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Used to measure IO latency</a:t>
          </a:r>
          <a:endParaRPr lang="en-US" sz="2000" kern="1200" dirty="0"/>
        </a:p>
        <a:p>
          <a:pPr marL="228600" lvl="1" indent="-228600" algn="l" defTabSz="889000">
            <a:lnSpc>
              <a:spcPct val="90000"/>
            </a:lnSpc>
            <a:spcBef>
              <a:spcPct val="0"/>
            </a:spcBef>
            <a:spcAft>
              <a:spcPct val="20000"/>
            </a:spcAft>
            <a:buChar char="•"/>
          </a:pPr>
          <a:r>
            <a:rPr lang="en-US" sz="2000" kern="1200" baseline="0" dirty="0"/>
            <a:t>&lt; .005 excellent; .005 - .010 Good; .010 - .015 Fair; &gt; .015 investigate</a:t>
          </a:r>
          <a:endParaRPr lang="en-US" sz="2000" kern="1200" dirty="0"/>
        </a:p>
      </dsp:txBody>
      <dsp:txXfrm>
        <a:off x="0" y="3727537"/>
        <a:ext cx="5644954" cy="10764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9203"/>
          <a:ext cx="10880725" cy="8236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recommended tool to measure disk latency? </a:t>
          </a:r>
        </a:p>
      </dsp:txBody>
      <dsp:txXfrm>
        <a:off x="40209" y="69412"/>
        <a:ext cx="10800307" cy="743262"/>
      </dsp:txXfrm>
    </dsp:sp>
    <dsp:sp modelId="{4A71D5C7-A7D6-46CE-B888-CF65241F6B98}">
      <dsp:nvSpPr>
        <dsp:cNvPr id="0" name=""/>
        <dsp:cNvSpPr/>
      </dsp:nvSpPr>
      <dsp:spPr>
        <a:xfrm>
          <a:off x="0" y="979603"/>
          <a:ext cx="10880725" cy="8236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DMV/DMF is used to identify pending IO requests?</a:t>
          </a:r>
        </a:p>
      </dsp:txBody>
      <dsp:txXfrm>
        <a:off x="40209" y="1019812"/>
        <a:ext cx="10800307" cy="743262"/>
      </dsp:txXfrm>
    </dsp:sp>
    <dsp:sp modelId="{4CE6D622-6C4B-4912-A756-057BDFDF7259}">
      <dsp:nvSpPr>
        <dsp:cNvPr id="0" name=""/>
        <dsp:cNvSpPr/>
      </dsp:nvSpPr>
      <dsp:spPr>
        <a:xfrm>
          <a:off x="0" y="1930003"/>
          <a:ext cx="10880725" cy="8236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the notable wait types for disk I/O?</a:t>
          </a:r>
        </a:p>
      </dsp:txBody>
      <dsp:txXfrm>
        <a:off x="40209" y="1970212"/>
        <a:ext cx="10800307" cy="74326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D81896-5617-4CC3-8571-40FC75A78D98}">
      <dsp:nvSpPr>
        <dsp:cNvPr id="0" name=""/>
        <dsp:cNvSpPr/>
      </dsp:nvSpPr>
      <dsp:spPr>
        <a:xfrm>
          <a:off x="1348" y="1181408"/>
          <a:ext cx="5260950" cy="315657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dirty="0">
              <a:latin typeface="Segoe UI"/>
              <a:ea typeface="+mn-ea"/>
              <a:cs typeface="+mn-cs"/>
            </a:rPr>
            <a:t>PFS and IAM are used to determine when an object needs a new extent allocated</a:t>
          </a:r>
          <a:endParaRPr lang="en-US" sz="3800" kern="1200" dirty="0">
            <a:latin typeface="Segoe UI"/>
            <a:ea typeface="+mn-ea"/>
            <a:cs typeface="+mn-cs"/>
          </a:endParaRPr>
        </a:p>
      </dsp:txBody>
      <dsp:txXfrm>
        <a:off x="155439" y="1335499"/>
        <a:ext cx="4952768" cy="2848388"/>
      </dsp:txXfrm>
    </dsp:sp>
    <dsp:sp modelId="{E7D5672E-1078-4242-B34A-3CB1D3C8E10B}">
      <dsp:nvSpPr>
        <dsp:cNvPr id="0" name=""/>
        <dsp:cNvSpPr/>
      </dsp:nvSpPr>
      <dsp:spPr>
        <a:xfrm>
          <a:off x="5788395" y="1181408"/>
          <a:ext cx="5260950" cy="315657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dirty="0">
              <a:latin typeface="Segoe UI"/>
              <a:ea typeface="+mn-ea"/>
              <a:cs typeface="+mn-cs"/>
            </a:rPr>
            <a:t>GAMs and SGAMs are used to allocate the extent</a:t>
          </a:r>
          <a:endParaRPr lang="en-US" sz="3800" kern="1200" dirty="0">
            <a:latin typeface="Segoe UI"/>
            <a:ea typeface="+mn-ea"/>
            <a:cs typeface="+mn-cs"/>
          </a:endParaRPr>
        </a:p>
      </dsp:txBody>
      <dsp:txXfrm>
        <a:off x="5942486" y="1335499"/>
        <a:ext cx="4952768" cy="284838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C990E7-EC36-47FB-AF8A-D4BF7B5CB066}">
      <dsp:nvSpPr>
        <dsp:cNvPr id="0" name=""/>
        <dsp:cNvSpPr/>
      </dsp:nvSpPr>
      <dsp:spPr>
        <a:xfrm>
          <a:off x="4090" y="5726"/>
          <a:ext cx="2459851" cy="974983"/>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Page Free Space (PFS)</a:t>
          </a:r>
          <a:endParaRPr lang="en-US" sz="1800" kern="1200" dirty="0"/>
        </a:p>
      </dsp:txBody>
      <dsp:txXfrm>
        <a:off x="4090" y="5726"/>
        <a:ext cx="2459851" cy="974983"/>
      </dsp:txXfrm>
    </dsp:sp>
    <dsp:sp modelId="{E7C774AA-542E-48C3-A864-EEA7245BD745}">
      <dsp:nvSpPr>
        <dsp:cNvPr id="0" name=""/>
        <dsp:cNvSpPr/>
      </dsp:nvSpPr>
      <dsp:spPr>
        <a:xfrm>
          <a:off x="4090" y="980710"/>
          <a:ext cx="2459851" cy="302746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free space on a page uses 1 Byte/Page</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 MB worth of pages</a:t>
          </a:r>
          <a:endParaRPr lang="en-US" sz="1900" kern="1200" dirty="0"/>
        </a:p>
      </dsp:txBody>
      <dsp:txXfrm>
        <a:off x="4090" y="980710"/>
        <a:ext cx="2459851" cy="3027460"/>
      </dsp:txXfrm>
    </dsp:sp>
    <dsp:sp modelId="{9FA250F5-EE59-4D85-8E94-4338AF834BF2}">
      <dsp:nvSpPr>
        <dsp:cNvPr id="0" name=""/>
        <dsp:cNvSpPr/>
      </dsp:nvSpPr>
      <dsp:spPr>
        <a:xfrm>
          <a:off x="2808321" y="5726"/>
          <a:ext cx="2459851" cy="974983"/>
        </a:xfrm>
        <a:prstGeom prst="rect">
          <a:avLst/>
        </a:prstGeom>
        <a:solidFill>
          <a:schemeClr val="accent2">
            <a:hueOff val="-889166"/>
            <a:satOff val="18461"/>
            <a:lumOff val="196"/>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Global Allocation Map (GAM)</a:t>
          </a:r>
          <a:endParaRPr lang="en-US" sz="1800" kern="1200" dirty="0"/>
        </a:p>
      </dsp:txBody>
      <dsp:txXfrm>
        <a:off x="2808321" y="5726"/>
        <a:ext cx="2459851" cy="974983"/>
      </dsp:txXfrm>
    </dsp:sp>
    <dsp:sp modelId="{AD3AE9D9-53BB-496E-A3E4-EF036CF514D2}">
      <dsp:nvSpPr>
        <dsp:cNvPr id="0" name=""/>
        <dsp:cNvSpPr/>
      </dsp:nvSpPr>
      <dsp:spPr>
        <a:xfrm>
          <a:off x="2808321" y="980710"/>
          <a:ext cx="2459851" cy="3027460"/>
        </a:xfrm>
        <a:prstGeom prst="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Uniform extents that have been allocated</a:t>
          </a:r>
          <a:br>
            <a:rPr lang="en-US" sz="1900" kern="1200" baseline="0" dirty="0"/>
          </a:br>
          <a:r>
            <a:rPr lang="en-US" sz="1900" kern="1200" baseline="0" dirty="0"/>
            <a:t>uses 1 Bit/exten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000 extents (4 GB worth of data)</a:t>
          </a:r>
          <a:endParaRPr lang="en-US" sz="1900" kern="1200" dirty="0"/>
        </a:p>
      </dsp:txBody>
      <dsp:txXfrm>
        <a:off x="2808321" y="980710"/>
        <a:ext cx="2459851" cy="3027460"/>
      </dsp:txXfrm>
    </dsp:sp>
    <dsp:sp modelId="{580B96B5-8BC4-454D-B4D6-22D2C7BBC512}">
      <dsp:nvSpPr>
        <dsp:cNvPr id="0" name=""/>
        <dsp:cNvSpPr/>
      </dsp:nvSpPr>
      <dsp:spPr>
        <a:xfrm>
          <a:off x="5612552" y="5726"/>
          <a:ext cx="2459851" cy="974983"/>
        </a:xfrm>
        <a:prstGeom prst="rect">
          <a:avLst/>
        </a:prstGeom>
        <a:solidFill>
          <a:schemeClr val="accent2">
            <a:hueOff val="-1778331"/>
            <a:satOff val="36921"/>
            <a:lumOff val="392"/>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Shared Global Allocation Map (SGAM)</a:t>
          </a:r>
          <a:endParaRPr lang="en-US" sz="1800" kern="1200" dirty="0"/>
        </a:p>
      </dsp:txBody>
      <dsp:txXfrm>
        <a:off x="5612552" y="5726"/>
        <a:ext cx="2459851" cy="974983"/>
      </dsp:txXfrm>
    </dsp:sp>
    <dsp:sp modelId="{403F8695-450D-4790-878E-6F6D6F842041}">
      <dsp:nvSpPr>
        <dsp:cNvPr id="0" name=""/>
        <dsp:cNvSpPr/>
      </dsp:nvSpPr>
      <dsp:spPr>
        <a:xfrm>
          <a:off x="5612552" y="980710"/>
          <a:ext cx="2459851" cy="3027460"/>
        </a:xfrm>
        <a:prstGeom prst="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Mixed extents that have all 8 pages allocated</a:t>
          </a:r>
          <a:br>
            <a:rPr lang="en-US" sz="1900" kern="1200" baseline="0" dirty="0"/>
          </a:br>
          <a:r>
            <a:rPr lang="en-US" sz="1900" kern="1200" baseline="0" dirty="0"/>
            <a:t>uses 1 Bit/exten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000 extents (4 GB worth of data)</a:t>
          </a:r>
          <a:endParaRPr lang="en-US" sz="1900" kern="1200" dirty="0"/>
        </a:p>
      </dsp:txBody>
      <dsp:txXfrm>
        <a:off x="5612552" y="980710"/>
        <a:ext cx="2459851" cy="3027460"/>
      </dsp:txXfrm>
    </dsp:sp>
    <dsp:sp modelId="{7D0E2B34-C1FF-4757-9556-4EBE8E8751BA}">
      <dsp:nvSpPr>
        <dsp:cNvPr id="0" name=""/>
        <dsp:cNvSpPr/>
      </dsp:nvSpPr>
      <dsp:spPr>
        <a:xfrm>
          <a:off x="8416782" y="5726"/>
          <a:ext cx="2459851" cy="974983"/>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Index Allocation Map (IAM)</a:t>
          </a:r>
          <a:endParaRPr lang="en-US" sz="1800" kern="1200" dirty="0"/>
        </a:p>
      </dsp:txBody>
      <dsp:txXfrm>
        <a:off x="8416782" y="5726"/>
        <a:ext cx="2459851" cy="974983"/>
      </dsp:txXfrm>
    </dsp:sp>
    <dsp:sp modelId="{7849064C-C948-4E3B-AB3A-3790921E0E33}">
      <dsp:nvSpPr>
        <dsp:cNvPr id="0" name=""/>
        <dsp:cNvSpPr/>
      </dsp:nvSpPr>
      <dsp:spPr>
        <a:xfrm>
          <a:off x="8416782" y="980710"/>
          <a:ext cx="2459851" cy="302746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extents that are allocated to an allocation uni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4 GB worth of data</a:t>
          </a:r>
          <a:endParaRPr lang="en-US" sz="1900" kern="1200" dirty="0"/>
        </a:p>
        <a:p>
          <a:pPr marL="171450" lvl="1" indent="-171450" algn="l" defTabSz="844550">
            <a:lnSpc>
              <a:spcPct val="90000"/>
            </a:lnSpc>
            <a:spcBef>
              <a:spcPct val="0"/>
            </a:spcBef>
            <a:spcAft>
              <a:spcPct val="15000"/>
            </a:spcAft>
            <a:buChar char="•"/>
          </a:pPr>
          <a:r>
            <a:rPr lang="en-US" sz="1900" kern="1200" baseline="0" dirty="0"/>
            <a:t>One IAM chain per table, per index, per partition, per allocation unit type</a:t>
          </a:r>
          <a:endParaRPr lang="en-US" sz="1900" kern="1200" dirty="0"/>
        </a:p>
      </dsp:txBody>
      <dsp:txXfrm>
        <a:off x="8416782" y="980710"/>
        <a:ext cx="2459851" cy="302746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49C234-723A-4BDE-AC95-03F9FB295F41}">
      <dsp:nvSpPr>
        <dsp:cNvPr id="0" name=""/>
        <dsp:cNvSpPr/>
      </dsp:nvSpPr>
      <dsp:spPr>
        <a:xfrm>
          <a:off x="0" y="483824"/>
          <a:ext cx="10880725" cy="1663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66496" rIns="84446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On object creation 2 pages from a mixed extents are allocated</a:t>
          </a:r>
        </a:p>
        <a:p>
          <a:pPr marL="228600" lvl="1" indent="-228600" algn="l" defTabSz="1066800">
            <a:lnSpc>
              <a:spcPct val="90000"/>
            </a:lnSpc>
            <a:spcBef>
              <a:spcPct val="0"/>
            </a:spcBef>
            <a:spcAft>
              <a:spcPct val="15000"/>
            </a:spcAft>
            <a:buChar char="•"/>
          </a:pPr>
          <a:r>
            <a:rPr lang="en-US" sz="2400" kern="1200" dirty="0"/>
            <a:t>After 8 data pages,  new allocation comes from Uniform Extent</a:t>
          </a:r>
        </a:p>
      </dsp:txBody>
      <dsp:txXfrm>
        <a:off x="0" y="483824"/>
        <a:ext cx="10880725" cy="1663200"/>
      </dsp:txXfrm>
    </dsp:sp>
    <dsp:sp modelId="{3AD40822-D0F7-405C-A43B-CE4D829B28CD}">
      <dsp:nvSpPr>
        <dsp:cNvPr id="0" name=""/>
        <dsp:cNvSpPr/>
      </dsp:nvSpPr>
      <dsp:spPr>
        <a:xfrm>
          <a:off x="544036" y="11504"/>
          <a:ext cx="7616507" cy="944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t>Up to, and including, SQL Server 2014 (12.x)</a:t>
          </a:r>
        </a:p>
      </dsp:txBody>
      <dsp:txXfrm>
        <a:off x="590150" y="57618"/>
        <a:ext cx="7524279" cy="852412"/>
      </dsp:txXfrm>
    </dsp:sp>
    <dsp:sp modelId="{F8D3E4B6-63BC-4D03-8AB8-DA50D9D29A49}">
      <dsp:nvSpPr>
        <dsp:cNvPr id="0" name=""/>
        <dsp:cNvSpPr/>
      </dsp:nvSpPr>
      <dsp:spPr>
        <a:xfrm>
          <a:off x="0" y="2792145"/>
          <a:ext cx="10880725" cy="20160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66496" rIns="84446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Default for allocations in the database is Uniform extents for Data pages</a:t>
          </a:r>
        </a:p>
        <a:p>
          <a:pPr marL="228600" lvl="1" indent="-228600" algn="l" defTabSz="1066800">
            <a:lnSpc>
              <a:spcPct val="90000"/>
            </a:lnSpc>
            <a:spcBef>
              <a:spcPct val="0"/>
            </a:spcBef>
            <a:spcAft>
              <a:spcPct val="15000"/>
            </a:spcAft>
            <a:buChar char="•"/>
          </a:pPr>
          <a:r>
            <a:rPr lang="en-US" sz="2400" kern="1200" dirty="0"/>
            <a:t>Decreases contention on SGAM objects</a:t>
          </a:r>
        </a:p>
      </dsp:txBody>
      <dsp:txXfrm>
        <a:off x="0" y="2792145"/>
        <a:ext cx="10880725" cy="2016000"/>
      </dsp:txXfrm>
    </dsp:sp>
    <dsp:sp modelId="{902416DC-60D1-44E1-A9BA-CB288DCD1D84}">
      <dsp:nvSpPr>
        <dsp:cNvPr id="0" name=""/>
        <dsp:cNvSpPr/>
      </dsp:nvSpPr>
      <dsp:spPr>
        <a:xfrm>
          <a:off x="544036" y="2319825"/>
          <a:ext cx="7616507" cy="9446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t>Starting with SQL Server 2016 (13.x)</a:t>
          </a:r>
        </a:p>
      </dsp:txBody>
      <dsp:txXfrm>
        <a:off x="590150" y="2365939"/>
        <a:ext cx="7524279" cy="85241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6BE7E-BB42-40A4-8B14-2BC2362B0DA7}">
      <dsp:nvSpPr>
        <dsp:cNvPr id="0" name=""/>
        <dsp:cNvSpPr/>
      </dsp:nvSpPr>
      <dsp:spPr>
        <a:xfrm>
          <a:off x="0" y="336961"/>
          <a:ext cx="10880726" cy="90956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dirty="0"/>
            <a:t>Trace flag 1118 is used to change default allocation to use uniform extents</a:t>
          </a:r>
        </a:p>
      </dsp:txBody>
      <dsp:txXfrm>
        <a:off x="0" y="336961"/>
        <a:ext cx="10880726" cy="909562"/>
      </dsp:txXfrm>
    </dsp:sp>
    <dsp:sp modelId="{8C141144-BE9A-4ADC-8E56-27B68CEDA7A5}">
      <dsp:nvSpPr>
        <dsp:cNvPr id="0" name=""/>
        <dsp:cNvSpPr/>
      </dsp:nvSpPr>
      <dsp:spPr>
        <a:xfrm>
          <a:off x="544036" y="27001"/>
          <a:ext cx="7616508" cy="6199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933450">
            <a:lnSpc>
              <a:spcPct val="90000"/>
            </a:lnSpc>
            <a:spcBef>
              <a:spcPct val="0"/>
            </a:spcBef>
            <a:spcAft>
              <a:spcPct val="35000"/>
            </a:spcAft>
            <a:buNone/>
          </a:pPr>
          <a:r>
            <a:rPr lang="en-US" sz="2100" kern="1200" dirty="0"/>
            <a:t>Up to, and including, SQL Server 2014 (12.x)</a:t>
          </a:r>
        </a:p>
      </dsp:txBody>
      <dsp:txXfrm>
        <a:off x="574298" y="57263"/>
        <a:ext cx="7555984" cy="559396"/>
      </dsp:txXfrm>
    </dsp:sp>
    <dsp:sp modelId="{87CA896E-F38B-413B-8D64-35A7D0637E54}">
      <dsp:nvSpPr>
        <dsp:cNvPr id="0" name=""/>
        <dsp:cNvSpPr/>
      </dsp:nvSpPr>
      <dsp:spPr>
        <a:xfrm>
          <a:off x="0" y="1669884"/>
          <a:ext cx="10880726" cy="23814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dirty="0"/>
            <a:t>For TempDB: TF 1118 functionality is automatically enabled. </a:t>
          </a:r>
        </a:p>
        <a:p>
          <a:pPr marL="228600" lvl="1" indent="-228600" algn="l" defTabSz="933450">
            <a:lnSpc>
              <a:spcPct val="90000"/>
            </a:lnSpc>
            <a:spcBef>
              <a:spcPct val="0"/>
            </a:spcBef>
            <a:spcAft>
              <a:spcPct val="15000"/>
            </a:spcAft>
            <a:buChar char="•"/>
          </a:pPr>
          <a:r>
            <a:rPr lang="en-US" sz="2100" kern="1200" dirty="0"/>
            <a:t>For user databases: behavior controlled with SET MIXED_PAGE_ALLOCATION option of ALTER DATABASE </a:t>
          </a:r>
        </a:p>
        <a:p>
          <a:pPr marL="457200" lvl="2" indent="-228600" algn="l" defTabSz="933450">
            <a:lnSpc>
              <a:spcPct val="90000"/>
            </a:lnSpc>
            <a:spcBef>
              <a:spcPct val="0"/>
            </a:spcBef>
            <a:spcAft>
              <a:spcPct val="15000"/>
            </a:spcAft>
            <a:buChar char="•"/>
          </a:pPr>
          <a:r>
            <a:rPr lang="en-US" sz="2100" kern="1200" dirty="0"/>
            <a:t>default value set to OFF</a:t>
          </a:r>
        </a:p>
        <a:p>
          <a:pPr marL="457200" lvl="2" indent="-228600" algn="l" defTabSz="933450">
            <a:lnSpc>
              <a:spcPct val="90000"/>
            </a:lnSpc>
            <a:spcBef>
              <a:spcPct val="0"/>
            </a:spcBef>
            <a:spcAft>
              <a:spcPct val="15000"/>
            </a:spcAft>
            <a:buChar char="•"/>
          </a:pPr>
          <a:r>
            <a:rPr lang="en-US" sz="2100" kern="1200" dirty="0"/>
            <a:t>TF 1118 has no effect. </a:t>
          </a:r>
        </a:p>
      </dsp:txBody>
      <dsp:txXfrm>
        <a:off x="0" y="1669884"/>
        <a:ext cx="10880726" cy="2381400"/>
      </dsp:txXfrm>
    </dsp:sp>
    <dsp:sp modelId="{164A6808-8EE2-47A5-93C4-FA0FBCBBA633}">
      <dsp:nvSpPr>
        <dsp:cNvPr id="0" name=""/>
        <dsp:cNvSpPr/>
      </dsp:nvSpPr>
      <dsp:spPr>
        <a:xfrm>
          <a:off x="544036" y="1359924"/>
          <a:ext cx="7616508" cy="6199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933450">
            <a:lnSpc>
              <a:spcPct val="90000"/>
            </a:lnSpc>
            <a:spcBef>
              <a:spcPct val="0"/>
            </a:spcBef>
            <a:spcAft>
              <a:spcPct val="35000"/>
            </a:spcAft>
            <a:buNone/>
          </a:pPr>
          <a:r>
            <a:rPr lang="en-US" sz="2100" kern="1200" dirty="0"/>
            <a:t>Starting with SQL Server 2016 (13.x) </a:t>
          </a:r>
        </a:p>
      </dsp:txBody>
      <dsp:txXfrm>
        <a:off x="574298" y="1390186"/>
        <a:ext cx="7555984" cy="55939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4671BD-453B-4DC7-AB38-1927A49795DB}">
      <dsp:nvSpPr>
        <dsp:cNvPr id="0" name=""/>
        <dsp:cNvSpPr/>
      </dsp:nvSpPr>
      <dsp:spPr>
        <a:xfrm>
          <a:off x="0" y="10761"/>
          <a:ext cx="10880726" cy="580320"/>
        </a:xfrm>
        <a:prstGeom prst="roundRect">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Although BCM pages appear in all databases, they are only relevant when the database is using the bulk-logged recovery model.</a:t>
          </a:r>
        </a:p>
      </dsp:txBody>
      <dsp:txXfrm>
        <a:off x="28329" y="39090"/>
        <a:ext cx="10824068" cy="5236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0A1F1B-53A7-4E26-A228-B358B2D55A24}">
      <dsp:nvSpPr>
        <dsp:cNvPr id="0" name=""/>
        <dsp:cNvSpPr/>
      </dsp:nvSpPr>
      <dsp:spPr>
        <a:xfrm>
          <a:off x="0" y="268311"/>
          <a:ext cx="11504118" cy="14175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ixed length data must be store here.</a:t>
          </a:r>
        </a:p>
        <a:p>
          <a:pPr marL="171450" lvl="1" indent="-171450" algn="l" defTabSz="800100">
            <a:lnSpc>
              <a:spcPct val="90000"/>
            </a:lnSpc>
            <a:spcBef>
              <a:spcPct val="0"/>
            </a:spcBef>
            <a:spcAft>
              <a:spcPct val="15000"/>
            </a:spcAft>
            <a:buChar char="•"/>
          </a:pPr>
          <a:r>
            <a:rPr lang="en-US" sz="1800" kern="1200" dirty="0"/>
            <a:t>Rows cannot extend beyond pages</a:t>
          </a:r>
        </a:p>
        <a:p>
          <a:pPr marL="171450" lvl="1" indent="-171450" algn="l" defTabSz="800100">
            <a:lnSpc>
              <a:spcPct val="90000"/>
            </a:lnSpc>
            <a:spcBef>
              <a:spcPct val="0"/>
            </a:spcBef>
            <a:spcAft>
              <a:spcPct val="15000"/>
            </a:spcAft>
            <a:buChar char="•"/>
          </a:pPr>
          <a:r>
            <a:rPr lang="en-US" sz="1800" kern="1200" dirty="0"/>
            <a:t>Data Page is 8060 bytes</a:t>
          </a:r>
        </a:p>
      </dsp:txBody>
      <dsp:txXfrm>
        <a:off x="0" y="268311"/>
        <a:ext cx="11504118" cy="1417500"/>
      </dsp:txXfrm>
    </dsp:sp>
    <dsp:sp modelId="{5345CC5A-3CA0-4CD0-885F-750DC14CBE0B}">
      <dsp:nvSpPr>
        <dsp:cNvPr id="0" name=""/>
        <dsp:cNvSpPr/>
      </dsp:nvSpPr>
      <dsp:spPr>
        <a:xfrm>
          <a:off x="575205" y="2631"/>
          <a:ext cx="8052882" cy="53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IN_ROW_DATA</a:t>
          </a:r>
        </a:p>
      </dsp:txBody>
      <dsp:txXfrm>
        <a:off x="601144" y="28570"/>
        <a:ext cx="8001004" cy="479482"/>
      </dsp:txXfrm>
    </dsp:sp>
    <dsp:sp modelId="{1BE6CC60-0F0D-46CE-A406-F857BBCCE870}">
      <dsp:nvSpPr>
        <dsp:cNvPr id="0" name=""/>
        <dsp:cNvSpPr/>
      </dsp:nvSpPr>
      <dsp:spPr>
        <a:xfrm>
          <a:off x="0" y="2048691"/>
          <a:ext cx="11504118" cy="14175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max) / nvarchar(max) / varbinary(max)</a:t>
          </a:r>
        </a:p>
        <a:p>
          <a:pPr marL="171450" lvl="1" indent="-171450" algn="l" defTabSz="800100">
            <a:lnSpc>
              <a:spcPct val="90000"/>
            </a:lnSpc>
            <a:spcBef>
              <a:spcPct val="0"/>
            </a:spcBef>
            <a:spcAft>
              <a:spcPct val="15000"/>
            </a:spcAft>
            <a:buChar char="•"/>
          </a:pPr>
          <a:r>
            <a:rPr lang="en-US" sz="1800" kern="1200" dirty="0"/>
            <a:t>16-byte point to out of row tree</a:t>
          </a:r>
        </a:p>
        <a:p>
          <a:pPr marL="171450" lvl="1" indent="-171450" algn="l" defTabSz="800100">
            <a:lnSpc>
              <a:spcPct val="90000"/>
            </a:lnSpc>
            <a:spcBef>
              <a:spcPct val="0"/>
            </a:spcBef>
            <a:spcAft>
              <a:spcPct val="15000"/>
            </a:spcAft>
            <a:buChar char="•"/>
          </a:pPr>
          <a:r>
            <a:rPr lang="en-US" sz="1800" kern="1200" dirty="0"/>
            <a:t>Uses text page to store a stream of data</a:t>
          </a:r>
        </a:p>
      </dsp:txBody>
      <dsp:txXfrm>
        <a:off x="0" y="2048691"/>
        <a:ext cx="11504118" cy="1417500"/>
      </dsp:txXfrm>
    </dsp:sp>
    <dsp:sp modelId="{9AC1164C-B8A9-4BA0-826C-837D06002D2B}">
      <dsp:nvSpPr>
        <dsp:cNvPr id="0" name=""/>
        <dsp:cNvSpPr/>
      </dsp:nvSpPr>
      <dsp:spPr>
        <a:xfrm>
          <a:off x="575205" y="1783011"/>
          <a:ext cx="8052882" cy="53136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LOB_DATA (For out of row storage)</a:t>
          </a:r>
        </a:p>
      </dsp:txBody>
      <dsp:txXfrm>
        <a:off x="601144" y="1808950"/>
        <a:ext cx="8001004" cy="479482"/>
      </dsp:txXfrm>
    </dsp:sp>
    <dsp:sp modelId="{612B4DC7-D7D5-447A-8782-9062D6CCA1B2}">
      <dsp:nvSpPr>
        <dsp:cNvPr id="0" name=""/>
        <dsp:cNvSpPr/>
      </dsp:nvSpPr>
      <dsp:spPr>
        <a:xfrm>
          <a:off x="0" y="3829072"/>
          <a:ext cx="11504118" cy="14175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8000) / nvarchar(4000) / varbinary(8000)</a:t>
          </a:r>
        </a:p>
        <a:p>
          <a:pPr marL="171450" lvl="1" indent="-171450" algn="l" defTabSz="800100">
            <a:lnSpc>
              <a:spcPct val="90000"/>
            </a:lnSpc>
            <a:spcBef>
              <a:spcPct val="0"/>
            </a:spcBef>
            <a:spcAft>
              <a:spcPct val="15000"/>
            </a:spcAft>
            <a:buChar char="•"/>
          </a:pPr>
          <a:r>
            <a:rPr lang="en-US" sz="1800" kern="1200" dirty="0"/>
            <a:t>When a column can’t fit onto a page</a:t>
          </a:r>
        </a:p>
        <a:p>
          <a:pPr marL="171450" lvl="1" indent="-171450" algn="l" defTabSz="800100">
            <a:lnSpc>
              <a:spcPct val="90000"/>
            </a:lnSpc>
            <a:spcBef>
              <a:spcPct val="0"/>
            </a:spcBef>
            <a:spcAft>
              <a:spcPct val="15000"/>
            </a:spcAft>
            <a:buChar char="•"/>
          </a:pPr>
          <a:r>
            <a:rPr lang="en-US" sz="1800" kern="1200" dirty="0"/>
            <a:t>No control over which column overflows</a:t>
          </a:r>
        </a:p>
      </dsp:txBody>
      <dsp:txXfrm>
        <a:off x="0" y="3829072"/>
        <a:ext cx="11504118" cy="1417500"/>
      </dsp:txXfrm>
    </dsp:sp>
    <dsp:sp modelId="{A2693F37-0C62-4143-8E0A-2BC5D60CCFE2}">
      <dsp:nvSpPr>
        <dsp:cNvPr id="0" name=""/>
        <dsp:cNvSpPr/>
      </dsp:nvSpPr>
      <dsp:spPr>
        <a:xfrm>
          <a:off x="575205" y="3563392"/>
          <a:ext cx="8052882" cy="53136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ROW_OVERFLOW_DATA </a:t>
          </a:r>
        </a:p>
      </dsp:txBody>
      <dsp:txXfrm>
        <a:off x="601144" y="3589331"/>
        <a:ext cx="8001004" cy="479482"/>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1863"/>
          <a:ext cx="10880725" cy="71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I/O pattern for accessing data files?</a:t>
          </a:r>
        </a:p>
      </dsp:txBody>
      <dsp:txXfrm>
        <a:off x="34726" y="76589"/>
        <a:ext cx="10811273" cy="641908"/>
      </dsp:txXfrm>
    </dsp:sp>
    <dsp:sp modelId="{4A71D5C7-A7D6-46CE-B888-CF65241F6B98}">
      <dsp:nvSpPr>
        <dsp:cNvPr id="0" name=""/>
        <dsp:cNvSpPr/>
      </dsp:nvSpPr>
      <dsp:spPr>
        <a:xfrm>
          <a:off x="0" y="862663"/>
          <a:ext cx="10880725" cy="71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operations causes write to the data files?</a:t>
          </a:r>
        </a:p>
      </dsp:txBody>
      <dsp:txXfrm>
        <a:off x="34726" y="897389"/>
        <a:ext cx="10811273" cy="641908"/>
      </dsp:txXfrm>
    </dsp:sp>
    <dsp:sp modelId="{4CE6D622-6C4B-4912-A756-057BDFDF7259}">
      <dsp:nvSpPr>
        <dsp:cNvPr id="0" name=""/>
        <dsp:cNvSpPr/>
      </dsp:nvSpPr>
      <dsp:spPr>
        <a:xfrm>
          <a:off x="0" y="1683463"/>
          <a:ext cx="10880725" cy="711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n extent?</a:t>
          </a:r>
        </a:p>
      </dsp:txBody>
      <dsp:txXfrm>
        <a:off x="34726" y="1718189"/>
        <a:ext cx="10811273" cy="641908"/>
      </dsp:txXfrm>
    </dsp:sp>
    <dsp:sp modelId="{0E5177C7-801D-471B-9850-4FD8DFBC4036}">
      <dsp:nvSpPr>
        <dsp:cNvPr id="0" name=""/>
        <dsp:cNvSpPr/>
      </dsp:nvSpPr>
      <dsp:spPr>
        <a:xfrm>
          <a:off x="0" y="2504263"/>
          <a:ext cx="10880725" cy="7113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was the object allocation behavior that changed in SQL Server 2016?</a:t>
          </a:r>
        </a:p>
      </dsp:txBody>
      <dsp:txXfrm>
        <a:off x="34726" y="2538989"/>
        <a:ext cx="10811273" cy="641908"/>
      </dsp:txXfrm>
    </dsp:sp>
    <dsp:sp modelId="{196D8D5C-AF3C-4B3F-BC76-432EBE3C6399}">
      <dsp:nvSpPr>
        <dsp:cNvPr id="0" name=""/>
        <dsp:cNvSpPr/>
      </dsp:nvSpPr>
      <dsp:spPr>
        <a:xfrm>
          <a:off x="0" y="3325063"/>
          <a:ext cx="10880725" cy="71136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special pages are used to control object allocation?</a:t>
          </a:r>
        </a:p>
      </dsp:txBody>
      <dsp:txXfrm>
        <a:off x="34726" y="3359789"/>
        <a:ext cx="10811273" cy="641908"/>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8D1D30-60A6-4DB2-8BDA-0DE9103DE1B8}">
      <dsp:nvSpPr>
        <dsp:cNvPr id="0" name=""/>
        <dsp:cNvSpPr/>
      </dsp:nvSpPr>
      <dsp:spPr>
        <a:xfrm>
          <a:off x="0" y="12309"/>
          <a:ext cx="10880725" cy="71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System database</a:t>
          </a:r>
        </a:p>
      </dsp:txBody>
      <dsp:txXfrm>
        <a:off x="34726" y="47035"/>
        <a:ext cx="10811273" cy="641908"/>
      </dsp:txXfrm>
    </dsp:sp>
    <dsp:sp modelId="{0FD744F1-A23D-4BF3-813E-387E30C91F55}">
      <dsp:nvSpPr>
        <dsp:cNvPr id="0" name=""/>
        <dsp:cNvSpPr/>
      </dsp:nvSpPr>
      <dsp:spPr>
        <a:xfrm>
          <a:off x="0" y="723669"/>
          <a:ext cx="10880725" cy="110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Available to all users with the same structure as user databases. </a:t>
          </a:r>
        </a:p>
        <a:p>
          <a:pPr marL="228600" lvl="1" indent="-228600" algn="l" defTabSz="889000">
            <a:lnSpc>
              <a:spcPct val="90000"/>
            </a:lnSpc>
            <a:spcBef>
              <a:spcPct val="0"/>
            </a:spcBef>
            <a:spcAft>
              <a:spcPct val="20000"/>
            </a:spcAft>
            <a:buChar char="•"/>
          </a:pPr>
          <a:r>
            <a:rPr lang="en-US" sz="2000" kern="1200" dirty="0"/>
            <a:t>Operations are minimally logged.</a:t>
          </a:r>
        </a:p>
        <a:p>
          <a:pPr marL="228600" lvl="1" indent="-228600" algn="l" defTabSz="889000">
            <a:lnSpc>
              <a:spcPct val="90000"/>
            </a:lnSpc>
            <a:spcBef>
              <a:spcPct val="0"/>
            </a:spcBef>
            <a:spcAft>
              <a:spcPct val="20000"/>
            </a:spcAft>
            <a:buChar char="•"/>
          </a:pPr>
          <a:r>
            <a:rPr lang="en-US" sz="2000" kern="1200" dirty="0"/>
            <a:t>Re-created every time SQL Server is started.</a:t>
          </a:r>
        </a:p>
      </dsp:txBody>
      <dsp:txXfrm>
        <a:off x="0" y="723669"/>
        <a:ext cx="10880725" cy="1101240"/>
      </dsp:txXfrm>
    </dsp:sp>
    <dsp:sp modelId="{CAA25F38-B2DB-4408-A535-B349A208603B}">
      <dsp:nvSpPr>
        <dsp:cNvPr id="0" name=""/>
        <dsp:cNvSpPr/>
      </dsp:nvSpPr>
      <dsp:spPr>
        <a:xfrm>
          <a:off x="0" y="1824909"/>
          <a:ext cx="10880725" cy="71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orkload</a:t>
          </a:r>
        </a:p>
      </dsp:txBody>
      <dsp:txXfrm>
        <a:off x="34726" y="1859635"/>
        <a:ext cx="10811273" cy="641908"/>
      </dsp:txXfrm>
    </dsp:sp>
    <dsp:sp modelId="{7BA8DFCE-126A-4113-9751-19225927BD8C}">
      <dsp:nvSpPr>
        <dsp:cNvPr id="0" name=""/>
        <dsp:cNvSpPr/>
      </dsp:nvSpPr>
      <dsp:spPr>
        <a:xfrm>
          <a:off x="0" y="2536269"/>
          <a:ext cx="10880725" cy="1494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Used for temporary (non-durable) storage.</a:t>
          </a:r>
        </a:p>
        <a:p>
          <a:pPr marL="228600" lvl="1" indent="-228600" algn="l" defTabSz="889000">
            <a:lnSpc>
              <a:spcPct val="90000"/>
            </a:lnSpc>
            <a:spcBef>
              <a:spcPct val="0"/>
            </a:spcBef>
            <a:spcAft>
              <a:spcPct val="20000"/>
            </a:spcAft>
            <a:buChar char="•"/>
          </a:pPr>
          <a:r>
            <a:rPr lang="en-US" sz="2000" kern="1200" dirty="0"/>
            <a:t>Object and data frequently being created and destroyed.</a:t>
          </a:r>
        </a:p>
        <a:p>
          <a:pPr marL="228600" lvl="1" indent="-228600" algn="l" defTabSz="889000">
            <a:lnSpc>
              <a:spcPct val="90000"/>
            </a:lnSpc>
            <a:spcBef>
              <a:spcPct val="0"/>
            </a:spcBef>
            <a:spcAft>
              <a:spcPct val="20000"/>
            </a:spcAft>
            <a:buChar char="•"/>
          </a:pPr>
          <a:r>
            <a:rPr lang="en-US" sz="2000" kern="1200" dirty="0"/>
            <a:t>Very high concurrency.</a:t>
          </a:r>
        </a:p>
        <a:p>
          <a:pPr marL="228600" lvl="1" indent="-228600" algn="l" defTabSz="889000">
            <a:lnSpc>
              <a:spcPct val="90000"/>
            </a:lnSpc>
            <a:spcBef>
              <a:spcPct val="0"/>
            </a:spcBef>
            <a:spcAft>
              <a:spcPct val="20000"/>
            </a:spcAft>
            <a:buChar char="•"/>
          </a:pPr>
          <a:r>
            <a:rPr lang="en-US" sz="2000" kern="1200" dirty="0"/>
            <a:t>Backup and restore operations are not allowed on TempDB.</a:t>
          </a:r>
        </a:p>
      </dsp:txBody>
      <dsp:txXfrm>
        <a:off x="0" y="2536269"/>
        <a:ext cx="10880725" cy="149454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B7A34F-A809-42F9-8833-0BB6817FBEE5}">
      <dsp:nvSpPr>
        <dsp:cNvPr id="0" name=""/>
        <dsp:cNvSpPr/>
      </dsp:nvSpPr>
      <dsp:spPr>
        <a:xfrm rot="5400000">
          <a:off x="5954596" y="-3153150"/>
          <a:ext cx="1242566" cy="7909817"/>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t>Global or local temporary tables and indexes</a:t>
          </a:r>
          <a:endParaRPr lang="en-US" sz="1400" kern="1200" dirty="0"/>
        </a:p>
        <a:p>
          <a:pPr marL="114300" lvl="1" indent="-114300" algn="l" defTabSz="622300">
            <a:lnSpc>
              <a:spcPct val="90000"/>
            </a:lnSpc>
            <a:spcBef>
              <a:spcPct val="0"/>
            </a:spcBef>
            <a:spcAft>
              <a:spcPct val="15000"/>
            </a:spcAft>
            <a:buChar char="•"/>
          </a:pPr>
          <a:r>
            <a:rPr lang="en-US" sz="1400" kern="1200" baseline="0" dirty="0"/>
            <a:t>Temporary stored procedures</a:t>
          </a:r>
          <a:endParaRPr lang="en-US" sz="1400" kern="1200" dirty="0"/>
        </a:p>
        <a:p>
          <a:pPr marL="114300" lvl="1" indent="-114300" algn="l" defTabSz="622300">
            <a:lnSpc>
              <a:spcPct val="90000"/>
            </a:lnSpc>
            <a:spcBef>
              <a:spcPct val="0"/>
            </a:spcBef>
            <a:spcAft>
              <a:spcPct val="15000"/>
            </a:spcAft>
            <a:buChar char="•"/>
          </a:pPr>
          <a:r>
            <a:rPr lang="en-US" sz="1400" kern="1200" baseline="0" dirty="0"/>
            <a:t>Table variables</a:t>
          </a:r>
          <a:endParaRPr lang="en-US" sz="1400" kern="1200" dirty="0"/>
        </a:p>
        <a:p>
          <a:pPr marL="114300" lvl="1" indent="-114300" algn="l" defTabSz="622300">
            <a:lnSpc>
              <a:spcPct val="90000"/>
            </a:lnSpc>
            <a:spcBef>
              <a:spcPct val="0"/>
            </a:spcBef>
            <a:spcAft>
              <a:spcPct val="15000"/>
            </a:spcAft>
            <a:buChar char="•"/>
          </a:pPr>
          <a:r>
            <a:rPr lang="en-US" sz="1400" kern="1200" baseline="0" dirty="0"/>
            <a:t>Tables returned in table-valued functions, or cursors</a:t>
          </a:r>
          <a:endParaRPr lang="en-US" sz="1400" kern="1200" dirty="0"/>
        </a:p>
      </dsp:txBody>
      <dsp:txXfrm rot="-5400000">
        <a:off x="2620971" y="241132"/>
        <a:ext cx="7849160" cy="1121252"/>
      </dsp:txXfrm>
    </dsp:sp>
    <dsp:sp modelId="{4E96B2B8-6208-4F6B-9690-912A909F316F}">
      <dsp:nvSpPr>
        <dsp:cNvPr id="0" name=""/>
        <dsp:cNvSpPr/>
      </dsp:nvSpPr>
      <dsp:spPr>
        <a:xfrm>
          <a:off x="0" y="20867"/>
          <a:ext cx="2545462" cy="155320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emporary user objects</a:t>
          </a:r>
          <a:endParaRPr lang="en-US" sz="2400" kern="1200" dirty="0"/>
        </a:p>
      </dsp:txBody>
      <dsp:txXfrm>
        <a:off x="75821" y="96688"/>
        <a:ext cx="2393820" cy="1401565"/>
      </dsp:txXfrm>
    </dsp:sp>
    <dsp:sp modelId="{B27F3B0D-D925-4031-91F4-CE94A9E550CA}">
      <dsp:nvSpPr>
        <dsp:cNvPr id="0" name=""/>
        <dsp:cNvSpPr/>
      </dsp:nvSpPr>
      <dsp:spPr>
        <a:xfrm rot="5400000">
          <a:off x="5954596" y="-1522282"/>
          <a:ext cx="1242566" cy="7909817"/>
        </a:xfrm>
        <a:prstGeom prst="round2Same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t>Worktables to store intermediate results for spools, cursors, sorts, and temporary LOB storage.</a:t>
          </a:r>
          <a:endParaRPr lang="en-US" sz="1400" kern="1200" dirty="0"/>
        </a:p>
        <a:p>
          <a:pPr marL="114300" lvl="1" indent="-114300" algn="l" defTabSz="622300">
            <a:lnSpc>
              <a:spcPct val="90000"/>
            </a:lnSpc>
            <a:spcBef>
              <a:spcPct val="0"/>
            </a:spcBef>
            <a:spcAft>
              <a:spcPct val="15000"/>
            </a:spcAft>
            <a:buChar char="•"/>
          </a:pPr>
          <a:r>
            <a:rPr lang="en-US" sz="1400" kern="1200" baseline="0" dirty="0"/>
            <a:t>Work files for hash join or hash aggregate operations.</a:t>
          </a:r>
          <a:endParaRPr lang="en-US" sz="1400" kern="1200" dirty="0"/>
        </a:p>
        <a:p>
          <a:pPr marL="114300" lvl="1" indent="-114300" algn="l" defTabSz="622300">
            <a:lnSpc>
              <a:spcPct val="90000"/>
            </a:lnSpc>
            <a:spcBef>
              <a:spcPct val="0"/>
            </a:spcBef>
            <a:spcAft>
              <a:spcPct val="15000"/>
            </a:spcAft>
            <a:buChar char="•"/>
          </a:pPr>
          <a:r>
            <a:rPr lang="en-US" sz="1400" kern="1200" baseline="0" dirty="0"/>
            <a:t>Intermediate sort results for operations such as creating or rebuilding indexes (if SORT_IN_TEMPDB is specified), or certain GROUP BY, ORDER BY, or UNION queries.</a:t>
          </a:r>
          <a:endParaRPr lang="en-US" sz="1400" kern="1200" dirty="0"/>
        </a:p>
      </dsp:txBody>
      <dsp:txXfrm rot="-5400000">
        <a:off x="2620971" y="1872000"/>
        <a:ext cx="7849160" cy="1121252"/>
      </dsp:txXfrm>
    </dsp:sp>
    <dsp:sp modelId="{08136A82-1FB7-4253-BE5E-94BB1DE3D541}">
      <dsp:nvSpPr>
        <dsp:cNvPr id="0" name=""/>
        <dsp:cNvSpPr/>
      </dsp:nvSpPr>
      <dsp:spPr>
        <a:xfrm>
          <a:off x="0" y="1651735"/>
          <a:ext cx="2545462" cy="1553207"/>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ternal objects </a:t>
          </a:r>
          <a:endParaRPr lang="en-US" sz="2400" kern="1200" dirty="0"/>
        </a:p>
      </dsp:txBody>
      <dsp:txXfrm>
        <a:off x="75821" y="1727556"/>
        <a:ext cx="2393820" cy="1401565"/>
      </dsp:txXfrm>
    </dsp:sp>
    <dsp:sp modelId="{E8FBC572-98AD-4A63-AAF8-0E6AEC369C3B}">
      <dsp:nvSpPr>
        <dsp:cNvPr id="0" name=""/>
        <dsp:cNvSpPr/>
      </dsp:nvSpPr>
      <dsp:spPr>
        <a:xfrm rot="5400000">
          <a:off x="5954596" y="108585"/>
          <a:ext cx="1242566" cy="7909817"/>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t>Common version store </a:t>
          </a:r>
          <a:endParaRPr lang="en-US" sz="1400" kern="1200" dirty="0"/>
        </a:p>
        <a:p>
          <a:pPr marL="114300" lvl="1" indent="-114300" algn="l" defTabSz="622300">
            <a:lnSpc>
              <a:spcPct val="90000"/>
            </a:lnSpc>
            <a:spcBef>
              <a:spcPct val="0"/>
            </a:spcBef>
            <a:spcAft>
              <a:spcPct val="15000"/>
            </a:spcAft>
            <a:buChar char="•"/>
          </a:pPr>
          <a:r>
            <a:rPr lang="en-US" sz="1400" kern="1200" baseline="0" dirty="0"/>
            <a:t>Online-index-build version store</a:t>
          </a:r>
          <a:endParaRPr lang="en-US" sz="1400" kern="1200" dirty="0"/>
        </a:p>
      </dsp:txBody>
      <dsp:txXfrm rot="-5400000">
        <a:off x="2620971" y="3502868"/>
        <a:ext cx="7849160" cy="1121252"/>
      </dsp:txXfrm>
    </dsp:sp>
    <dsp:sp modelId="{FDD51701-DC5C-45A6-920F-9105644A9278}">
      <dsp:nvSpPr>
        <dsp:cNvPr id="0" name=""/>
        <dsp:cNvSpPr/>
      </dsp:nvSpPr>
      <dsp:spPr>
        <a:xfrm>
          <a:off x="0" y="3266442"/>
          <a:ext cx="2545462" cy="1553207"/>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Version stores </a:t>
          </a:r>
          <a:endParaRPr lang="en-US" sz="2400" kern="1200" dirty="0"/>
        </a:p>
      </dsp:txBody>
      <dsp:txXfrm>
        <a:off x="75821" y="3342263"/>
        <a:ext cx="2393820" cy="1401565"/>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622A-2CAD-4CD4-B9F9-2EC91C1157DC}">
      <dsp:nvSpPr>
        <dsp:cNvPr id="0" name=""/>
        <dsp:cNvSpPr/>
      </dsp:nvSpPr>
      <dsp:spPr>
        <a:xfrm>
          <a:off x="3187" y="109169"/>
          <a:ext cx="2528918" cy="247454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less than or equal to eight (8), use the same number of data files as logical processors. </a:t>
          </a:r>
          <a:endParaRPr lang="en-US" sz="2000" kern="1200" dirty="0"/>
        </a:p>
      </dsp:txBody>
      <dsp:txXfrm>
        <a:off x="3187" y="109169"/>
        <a:ext cx="2528918" cy="2474541"/>
      </dsp:txXfrm>
    </dsp:sp>
    <dsp:sp modelId="{B1C4AFFA-3532-437C-B29A-7FDDE5BEC71F}">
      <dsp:nvSpPr>
        <dsp:cNvPr id="0" name=""/>
        <dsp:cNvSpPr/>
      </dsp:nvSpPr>
      <dsp:spPr>
        <a:xfrm>
          <a:off x="2784998" y="130435"/>
          <a:ext cx="2528918" cy="2432010"/>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greater than eight (8), use eight data files.</a:t>
          </a:r>
          <a:endParaRPr lang="en-US" sz="2000" kern="1200" dirty="0"/>
        </a:p>
      </dsp:txBody>
      <dsp:txXfrm>
        <a:off x="2784998" y="130435"/>
        <a:ext cx="2528918" cy="2432010"/>
      </dsp:txXfrm>
    </dsp:sp>
    <dsp:sp modelId="{44D8825F-E5C3-4395-86D5-510F82EDC61E}">
      <dsp:nvSpPr>
        <dsp:cNvPr id="0" name=""/>
        <dsp:cNvSpPr/>
      </dsp:nvSpPr>
      <dsp:spPr>
        <a:xfrm>
          <a:off x="5566808" y="130435"/>
          <a:ext cx="2528918" cy="2432010"/>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contention continues, increase the number of data    files by multiples of four (4) up to the number of logical processors</a:t>
          </a:r>
          <a:endParaRPr lang="en-US" sz="2000" kern="1200" dirty="0"/>
        </a:p>
      </dsp:txBody>
      <dsp:txXfrm>
        <a:off x="5566808" y="130435"/>
        <a:ext cx="2528918" cy="2432010"/>
      </dsp:txXfrm>
    </dsp:sp>
    <dsp:sp modelId="{0A4357DC-3753-4163-A2BD-06FC659AF452}">
      <dsp:nvSpPr>
        <dsp:cNvPr id="0" name=""/>
        <dsp:cNvSpPr/>
      </dsp:nvSpPr>
      <dsp:spPr>
        <a:xfrm>
          <a:off x="8348618" y="130435"/>
          <a:ext cx="2528918" cy="2432010"/>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t>Alternatively, make changes to the workload or code.</a:t>
          </a:r>
          <a:endParaRPr lang="en-US" sz="2000" kern="1200" dirty="0"/>
        </a:p>
      </dsp:txBody>
      <dsp:txXfrm>
        <a:off x="8348618" y="130435"/>
        <a:ext cx="2528918" cy="243201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2D7E6-9E7C-4AA2-B124-7E6E29E911AF}">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nsider instant file initialization</a:t>
          </a:r>
          <a:endParaRPr lang="en-US" sz="2400" kern="1200" dirty="0"/>
        </a:p>
      </dsp:txBody>
      <dsp:txXfrm>
        <a:off x="0" y="199677"/>
        <a:ext cx="3400226" cy="2040135"/>
      </dsp:txXfrm>
    </dsp:sp>
    <dsp:sp modelId="{94DCA6BD-1721-4E61-8F96-42F7D22CF61C}">
      <dsp:nvSpPr>
        <dsp:cNvPr id="0" name=""/>
        <dsp:cNvSpPr/>
      </dsp:nvSpPr>
      <dsp:spPr>
        <a:xfrm>
          <a:off x="3740249" y="199677"/>
          <a:ext cx="3400226" cy="20401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re-allocate space for all TempDB files</a:t>
          </a:r>
          <a:endParaRPr lang="en-US" sz="2400" kern="1200" dirty="0"/>
        </a:p>
      </dsp:txBody>
      <dsp:txXfrm>
        <a:off x="3740249" y="199677"/>
        <a:ext cx="3400226" cy="2040135"/>
      </dsp:txXfrm>
    </dsp:sp>
    <dsp:sp modelId="{D32F6E4D-F5C1-4618-93C3-7C08E691EE5B}">
      <dsp:nvSpPr>
        <dsp:cNvPr id="0" name=""/>
        <dsp:cNvSpPr/>
      </dsp:nvSpPr>
      <dsp:spPr>
        <a:xfrm>
          <a:off x="7480498" y="199677"/>
          <a:ext cx="3400226" cy="204013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ivide TempDB into multiple data files of equal size</a:t>
          </a:r>
          <a:endParaRPr lang="en-US" sz="2400" kern="1200" dirty="0"/>
        </a:p>
      </dsp:txBody>
      <dsp:txXfrm>
        <a:off x="7480498" y="199677"/>
        <a:ext cx="3400226" cy="2040135"/>
      </dsp:txXfrm>
    </dsp:sp>
    <dsp:sp modelId="{7D8C0E8D-C181-4FBD-8CD5-972A56A49965}">
      <dsp:nvSpPr>
        <dsp:cNvPr id="0" name=""/>
        <dsp:cNvSpPr/>
      </dsp:nvSpPr>
      <dsp:spPr>
        <a:xfrm>
          <a:off x="0" y="2579836"/>
          <a:ext cx="3400226" cy="204013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a fast I/O subsystem</a:t>
          </a:r>
          <a:endParaRPr lang="en-US" sz="2400" kern="1200" dirty="0"/>
        </a:p>
      </dsp:txBody>
      <dsp:txXfrm>
        <a:off x="0" y="2579836"/>
        <a:ext cx="3400226" cy="2040135"/>
      </dsp:txXfrm>
    </dsp:sp>
    <dsp:sp modelId="{5C5D1959-FD49-4F9F-BE4D-0311FDC3F87A}">
      <dsp:nvSpPr>
        <dsp:cNvPr id="0" name=""/>
        <dsp:cNvSpPr/>
      </dsp:nvSpPr>
      <dsp:spPr>
        <a:xfrm>
          <a:off x="3740249" y="2579836"/>
          <a:ext cx="3400226" cy="204013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Use disk striping if there are many directly attached disks.</a:t>
          </a:r>
          <a:endParaRPr lang="en-US" sz="2400" kern="1200" dirty="0"/>
        </a:p>
      </dsp:txBody>
      <dsp:txXfrm>
        <a:off x="3740249" y="2579836"/>
        <a:ext cx="3400226" cy="2040135"/>
      </dsp:txXfrm>
    </dsp:sp>
    <dsp:sp modelId="{7A16D7C9-AA21-4FB5-8281-BD4F74B42549}">
      <dsp:nvSpPr>
        <dsp:cNvPr id="0" name=""/>
        <dsp:cNvSpPr/>
      </dsp:nvSpPr>
      <dsp:spPr>
        <a:xfrm>
          <a:off x="7480498" y="2579836"/>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separate disks from user databases</a:t>
          </a:r>
          <a:endParaRPr lang="en-US" sz="2400" kern="1200" dirty="0"/>
        </a:p>
      </dsp:txBody>
      <dsp:txXfrm>
        <a:off x="7480498" y="2579836"/>
        <a:ext cx="3400226" cy="2040135"/>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D5EC4D-CBE8-4CBE-8720-9892BCEB45F2}">
      <dsp:nvSpPr>
        <dsp:cNvPr id="0" name=""/>
        <dsp:cNvSpPr/>
      </dsp:nvSpPr>
      <dsp:spPr>
        <a:xfrm>
          <a:off x="1552150"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race Flags 1117 and 1118 behavior enabled by default for TempDB</a:t>
          </a:r>
          <a:endParaRPr lang="en-US" sz="2400" kern="1200" dirty="0"/>
        </a:p>
      </dsp:txBody>
      <dsp:txXfrm>
        <a:off x="1552150" y="2836"/>
        <a:ext cx="3703059" cy="2221835"/>
      </dsp:txXfrm>
    </dsp:sp>
    <dsp:sp modelId="{44A64F2E-54C4-4541-A3C6-A973756CBEC7}">
      <dsp:nvSpPr>
        <dsp:cNvPr id="0" name=""/>
        <dsp:cNvSpPr/>
      </dsp:nvSpPr>
      <dsp:spPr>
        <a:xfrm>
          <a:off x="5625515" y="2836"/>
          <a:ext cx="3703059" cy="22218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emporary tables and table variables are cached. </a:t>
          </a:r>
          <a:endParaRPr lang="en-US" sz="2400" kern="1200" dirty="0"/>
        </a:p>
      </dsp:txBody>
      <dsp:txXfrm>
        <a:off x="5625515" y="2836"/>
        <a:ext cx="3703059" cy="2221835"/>
      </dsp:txXfrm>
    </dsp:sp>
    <dsp:sp modelId="{0AE8E446-DCA6-4890-83C4-339778F83471}">
      <dsp:nvSpPr>
        <dsp:cNvPr id="0" name=""/>
        <dsp:cNvSpPr/>
      </dsp:nvSpPr>
      <dsp:spPr>
        <a:xfrm>
          <a:off x="1552150" y="2594977"/>
          <a:ext cx="3703059" cy="222183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ocation page latching protocol improved.</a:t>
          </a:r>
          <a:endParaRPr lang="en-US" sz="2400" kern="1200" dirty="0"/>
        </a:p>
      </dsp:txBody>
      <dsp:txXfrm>
        <a:off x="1552150" y="2594977"/>
        <a:ext cx="3703059" cy="2221835"/>
      </dsp:txXfrm>
    </dsp:sp>
    <dsp:sp modelId="{FF76BC0E-757E-4718-A4B1-B3BFFB5BEC79}">
      <dsp:nvSpPr>
        <dsp:cNvPr id="0" name=""/>
        <dsp:cNvSpPr/>
      </dsp:nvSpPr>
      <dsp:spPr>
        <a:xfrm>
          <a:off x="5625515" y="2594977"/>
          <a:ext cx="3703059" cy="222183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Logging overhead for TempDB is reduced.</a:t>
          </a:r>
          <a:endParaRPr lang="en-US" sz="2400" kern="1200" dirty="0"/>
        </a:p>
      </dsp:txBody>
      <dsp:txXfrm>
        <a:off x="5625515" y="2594977"/>
        <a:ext cx="3703059" cy="222183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7562-EE5E-4366-A87E-0C77C13163CC}">
      <dsp:nvSpPr>
        <dsp:cNvPr id="0" name=""/>
        <dsp:cNvSpPr/>
      </dsp:nvSpPr>
      <dsp:spPr>
        <a:xfrm>
          <a:off x="51" y="28722"/>
          <a:ext cx="4931835" cy="777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efault</a:t>
          </a:r>
        </a:p>
      </dsp:txBody>
      <dsp:txXfrm>
        <a:off x="51" y="28722"/>
        <a:ext cx="4931835" cy="777600"/>
      </dsp:txXfrm>
    </dsp:sp>
    <dsp:sp modelId="{6351C792-56D4-4FB6-ABBD-639A5B7CD53A}">
      <dsp:nvSpPr>
        <dsp:cNvPr id="0" name=""/>
        <dsp:cNvSpPr/>
      </dsp:nvSpPr>
      <dsp:spPr>
        <a:xfrm>
          <a:off x="51" y="806323"/>
          <a:ext cx="4931835" cy="118584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Temp table cache improvements</a:t>
          </a:r>
        </a:p>
        <a:p>
          <a:pPr marL="228600" lvl="1" indent="-228600" algn="l" defTabSz="889000">
            <a:lnSpc>
              <a:spcPct val="90000"/>
            </a:lnSpc>
            <a:spcBef>
              <a:spcPct val="0"/>
            </a:spcBef>
            <a:spcAft>
              <a:spcPct val="15000"/>
            </a:spcAft>
            <a:buChar char="•"/>
          </a:pPr>
          <a:r>
            <a:rPr lang="en-US" sz="2000" kern="1200" dirty="0"/>
            <a:t>Concurrent PFS updates</a:t>
          </a:r>
        </a:p>
      </dsp:txBody>
      <dsp:txXfrm>
        <a:off x="51" y="806323"/>
        <a:ext cx="4931835" cy="1185840"/>
      </dsp:txXfrm>
    </dsp:sp>
    <dsp:sp modelId="{D3753214-71DB-47E9-89C7-BB5CD65E2EA6}">
      <dsp:nvSpPr>
        <dsp:cNvPr id="0" name=""/>
        <dsp:cNvSpPr/>
      </dsp:nvSpPr>
      <dsp:spPr>
        <a:xfrm>
          <a:off x="5622343" y="28722"/>
          <a:ext cx="4931835" cy="777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pt-in</a:t>
          </a:r>
        </a:p>
      </dsp:txBody>
      <dsp:txXfrm>
        <a:off x="5622343" y="28722"/>
        <a:ext cx="4931835" cy="777600"/>
      </dsp:txXfrm>
    </dsp:sp>
    <dsp:sp modelId="{00F8EF06-A708-4F18-8A8E-432849871C19}">
      <dsp:nvSpPr>
        <dsp:cNvPr id="0" name=""/>
        <dsp:cNvSpPr/>
      </dsp:nvSpPr>
      <dsp:spPr>
        <a:xfrm>
          <a:off x="5622343" y="806323"/>
          <a:ext cx="4931835" cy="118584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emory-Optimized TempDB Metadata</a:t>
          </a:r>
        </a:p>
      </dsp:txBody>
      <dsp:txXfrm>
        <a:off x="5622343" y="806323"/>
        <a:ext cx="4931835" cy="1185840"/>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4ABAF7-B397-4771-A73C-F70409110BD0}">
      <dsp:nvSpPr>
        <dsp:cNvPr id="0" name=""/>
        <dsp:cNvSpPr/>
      </dsp:nvSpPr>
      <dsp:spPr>
        <a:xfrm>
          <a:off x="0" y="68184"/>
          <a:ext cx="6286986" cy="1130951"/>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New algorithm to round robin between files, and between PFS pages within the files.</a:t>
          </a:r>
        </a:p>
      </dsp:txBody>
      <dsp:txXfrm>
        <a:off x="55208" y="123392"/>
        <a:ext cx="6176570" cy="1020535"/>
      </dsp:txXfrm>
    </dsp:sp>
    <dsp:sp modelId="{BB3BA1B9-698A-4E65-B1D9-1250BA80FD86}">
      <dsp:nvSpPr>
        <dsp:cNvPr id="0" name=""/>
        <dsp:cNvSpPr/>
      </dsp:nvSpPr>
      <dsp:spPr>
        <a:xfrm>
          <a:off x="0" y="1272247"/>
          <a:ext cx="6286986" cy="1130951"/>
        </a:xfrm>
        <a:prstGeom prst="roundRect">
          <a:avLst/>
        </a:prstGeom>
        <a:solidFill>
          <a:schemeClr val="accent2">
            <a:shade val="80000"/>
            <a:hueOff val="128013"/>
            <a:satOff val="-12813"/>
            <a:lumOff val="131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With this change, not only will increasing the number of files help with PFS contention also increasing the size of the files.</a:t>
          </a:r>
        </a:p>
      </dsp:txBody>
      <dsp:txXfrm>
        <a:off x="55208" y="1327455"/>
        <a:ext cx="6176570" cy="1020535"/>
      </dsp:txXfrm>
    </dsp:sp>
    <dsp:sp modelId="{E386F5B6-B1AE-4D47-8A83-2F270C921C3A}">
      <dsp:nvSpPr>
        <dsp:cNvPr id="0" name=""/>
        <dsp:cNvSpPr/>
      </dsp:nvSpPr>
      <dsp:spPr>
        <a:xfrm>
          <a:off x="0" y="2439526"/>
          <a:ext cx="6286986" cy="1130951"/>
        </a:xfrm>
        <a:prstGeom prst="roundRect">
          <a:avLst/>
        </a:prstGeom>
        <a:solidFill>
          <a:schemeClr val="accent2">
            <a:shade val="80000"/>
            <a:hueOff val="256027"/>
            <a:satOff val="-25626"/>
            <a:lumOff val="262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QL Server 2019 introduced Concurrent PFS Updates. </a:t>
          </a:r>
        </a:p>
      </dsp:txBody>
      <dsp:txXfrm>
        <a:off x="55208" y="2494734"/>
        <a:ext cx="6176570" cy="1020535"/>
      </dsp:txXfrm>
    </dsp:sp>
    <dsp:sp modelId="{BC72A263-140E-401B-96AA-1D89233E58B5}">
      <dsp:nvSpPr>
        <dsp:cNvPr id="0" name=""/>
        <dsp:cNvSpPr/>
      </dsp:nvSpPr>
      <dsp:spPr>
        <a:xfrm>
          <a:off x="0" y="3625197"/>
          <a:ext cx="6286986" cy="1130951"/>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QL Server 2022 introduced Concurrent GAM and SGAM Updates. </a:t>
          </a:r>
        </a:p>
      </dsp:txBody>
      <dsp:txXfrm>
        <a:off x="55208" y="3680405"/>
        <a:ext cx="6176570" cy="1020535"/>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0604"/>
          <a:ext cx="10880725" cy="71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stored in TempDB?</a:t>
          </a:r>
        </a:p>
      </dsp:txBody>
      <dsp:txXfrm>
        <a:off x="34726" y="45330"/>
        <a:ext cx="10811273" cy="641908"/>
      </dsp:txXfrm>
    </dsp:sp>
    <dsp:sp modelId="{4A71D5C7-A7D6-46CE-B888-CF65241F6B98}">
      <dsp:nvSpPr>
        <dsp:cNvPr id="0" name=""/>
        <dsp:cNvSpPr/>
      </dsp:nvSpPr>
      <dsp:spPr>
        <a:xfrm>
          <a:off x="0" y="831404"/>
          <a:ext cx="10880725" cy="71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How can you boost TempDB performance?</a:t>
          </a:r>
        </a:p>
      </dsp:txBody>
      <dsp:txXfrm>
        <a:off x="34726" y="866130"/>
        <a:ext cx="10811273" cy="641908"/>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6B62B5-D21B-4577-8B59-54E4FBFB3336}">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E59AC26-1B75-4199-BB4D-634808FCADB0}">
      <dsp:nvSpPr>
        <dsp:cNvPr id="0" name=""/>
        <dsp:cNvSpPr/>
      </dsp:nvSpPr>
      <dsp:spPr>
        <a:xfrm>
          <a:off x="454364" y="301131"/>
          <a:ext cx="10359238" cy="6026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One .ldf file per database</a:t>
          </a:r>
        </a:p>
      </dsp:txBody>
      <dsp:txXfrm>
        <a:off x="454364" y="301131"/>
        <a:ext cx="10359238" cy="602649"/>
      </dsp:txXfrm>
    </dsp:sp>
    <dsp:sp modelId="{861DC932-751C-424A-875F-E4841DC99BA3}">
      <dsp:nvSpPr>
        <dsp:cNvPr id="0" name=""/>
        <dsp:cNvSpPr/>
      </dsp:nvSpPr>
      <dsp:spPr>
        <a:xfrm>
          <a:off x="77709" y="225800"/>
          <a:ext cx="753311" cy="753311"/>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B45A9AB-CA98-4D96-8E24-FDEA17711EF4}">
      <dsp:nvSpPr>
        <dsp:cNvPr id="0" name=""/>
        <dsp:cNvSpPr/>
      </dsp:nvSpPr>
      <dsp:spPr>
        <a:xfrm>
          <a:off x="886205" y="1204816"/>
          <a:ext cx="9927398" cy="602649"/>
        </a:xfrm>
        <a:prstGeom prst="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Sequential reads and writes</a:t>
          </a:r>
        </a:p>
      </dsp:txBody>
      <dsp:txXfrm>
        <a:off x="886205" y="1204816"/>
        <a:ext cx="9927398" cy="602649"/>
      </dsp:txXfrm>
    </dsp:sp>
    <dsp:sp modelId="{57DAF8D8-8318-4562-BBB2-9B9DA1499FFD}">
      <dsp:nvSpPr>
        <dsp:cNvPr id="0" name=""/>
        <dsp:cNvSpPr/>
      </dsp:nvSpPr>
      <dsp:spPr>
        <a:xfrm>
          <a:off x="509549" y="1129484"/>
          <a:ext cx="753311" cy="753311"/>
        </a:xfrm>
        <a:prstGeom prst="ellipse">
          <a:avLst/>
        </a:prstGeom>
        <a:solidFill>
          <a:schemeClr val="lt1">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sp>
    <dsp:sp modelId="{F704E7CE-CEA4-491B-BF18-7827E2BB1B97}">
      <dsp:nvSpPr>
        <dsp:cNvPr id="0" name=""/>
        <dsp:cNvSpPr/>
      </dsp:nvSpPr>
      <dsp:spPr>
        <a:xfrm>
          <a:off x="1018745" y="2108500"/>
          <a:ext cx="9794857" cy="602649"/>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Write activity during the log buffer flush operations</a:t>
          </a:r>
        </a:p>
      </dsp:txBody>
      <dsp:txXfrm>
        <a:off x="1018745" y="2108500"/>
        <a:ext cx="9794857" cy="602649"/>
      </dsp:txXfrm>
    </dsp:sp>
    <dsp:sp modelId="{8D2A7DFF-22BB-40E1-A924-137C6AC119F2}">
      <dsp:nvSpPr>
        <dsp:cNvPr id="0" name=""/>
        <dsp:cNvSpPr/>
      </dsp:nvSpPr>
      <dsp:spPr>
        <a:xfrm>
          <a:off x="642090" y="2033169"/>
          <a:ext cx="753311" cy="753311"/>
        </a:xfrm>
        <a:prstGeom prst="ellipse">
          <a:avLst/>
        </a:prstGeom>
        <a:solidFill>
          <a:schemeClr val="lt1">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7972774F-A97B-425D-8CDF-1B57EC9EA72A}">
      <dsp:nvSpPr>
        <dsp:cNvPr id="0" name=""/>
        <dsp:cNvSpPr/>
      </dsp:nvSpPr>
      <dsp:spPr>
        <a:xfrm>
          <a:off x="886205" y="3012184"/>
          <a:ext cx="9927398" cy="602649"/>
        </a:xfrm>
        <a:prstGeom prst="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Read activity during checkpoints, backups, and recovery</a:t>
          </a:r>
        </a:p>
      </dsp:txBody>
      <dsp:txXfrm>
        <a:off x="886205" y="3012184"/>
        <a:ext cx="9927398" cy="602649"/>
      </dsp:txXfrm>
    </dsp:sp>
    <dsp:sp modelId="{51597AEA-5E7F-4B28-98B4-4CA4F42CB811}">
      <dsp:nvSpPr>
        <dsp:cNvPr id="0" name=""/>
        <dsp:cNvSpPr/>
      </dsp:nvSpPr>
      <dsp:spPr>
        <a:xfrm>
          <a:off x="509549" y="2936853"/>
          <a:ext cx="753311" cy="753311"/>
        </a:xfrm>
        <a:prstGeom prst="ellipse">
          <a:avLst/>
        </a:prstGeom>
        <a:solidFill>
          <a:schemeClr val="lt1">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9EF4B7-CC55-43EA-AF5E-19D2E8D7A578}">
      <dsp:nvSpPr>
        <dsp:cNvPr id="0" name=""/>
        <dsp:cNvSpPr/>
      </dsp:nvSpPr>
      <dsp:spPr>
        <a:xfrm>
          <a:off x="454364" y="3915869"/>
          <a:ext cx="10359238" cy="602649"/>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Features such as database mirroring and replication will increase read and write activity</a:t>
          </a:r>
        </a:p>
      </dsp:txBody>
      <dsp:txXfrm>
        <a:off x="454364" y="3915869"/>
        <a:ext cx="10359238" cy="602649"/>
      </dsp:txXfrm>
    </dsp:sp>
    <dsp:sp modelId="{B4557B4E-2930-43D2-97CA-B1759C6FB054}">
      <dsp:nvSpPr>
        <dsp:cNvPr id="0" name=""/>
        <dsp:cNvSpPr/>
      </dsp:nvSpPr>
      <dsp:spPr>
        <a:xfrm>
          <a:off x="77709" y="3840538"/>
          <a:ext cx="753311" cy="753311"/>
        </a:xfrm>
        <a:prstGeom prst="ellipse">
          <a:avLst/>
        </a:prstGeom>
        <a:solidFill>
          <a:schemeClr val="lt1">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8236B5-C527-45FA-AF85-999307E9E726}">
      <dsp:nvSpPr>
        <dsp:cNvPr id="0" name=""/>
        <dsp:cNvSpPr/>
      </dsp:nvSpPr>
      <dsp:spPr>
        <a:xfrm>
          <a:off x="0" y="12042"/>
          <a:ext cx="8208964" cy="437580"/>
        </a:xfrm>
        <a:prstGeom prst="roundRect">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baseline="0" dirty="0"/>
            <a:t>sys.dm_db_page_info is currently supported only in SQL Server 2019 (15.x) and later. </a:t>
          </a:r>
          <a:endParaRPr lang="en-US" sz="1700" kern="1200" dirty="0"/>
        </a:p>
      </dsp:txBody>
      <dsp:txXfrm>
        <a:off x="21361" y="33403"/>
        <a:ext cx="8166242" cy="394858"/>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0EC126-B54C-4A39-B43E-00AAA6C88407}">
      <dsp:nvSpPr>
        <dsp:cNvPr id="0" name=""/>
        <dsp:cNvSpPr/>
      </dsp:nvSpPr>
      <dsp:spPr>
        <a:xfrm>
          <a:off x="0" y="327906"/>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Sequence of log records contained in one or more physical files</a:t>
          </a:r>
        </a:p>
      </dsp:txBody>
      <dsp:txXfrm>
        <a:off x="35183" y="363089"/>
        <a:ext cx="10810359" cy="650354"/>
      </dsp:txXfrm>
    </dsp:sp>
    <dsp:sp modelId="{4C9A9914-DD0A-4C91-B538-3977C68EC542}">
      <dsp:nvSpPr>
        <dsp:cNvPr id="0" name=""/>
        <dsp:cNvSpPr/>
      </dsp:nvSpPr>
      <dsp:spPr>
        <a:xfrm>
          <a:off x="0" y="1129266"/>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Records identified by increasing Logical Sequence Numbers (LSNs)</a:t>
          </a:r>
        </a:p>
      </dsp:txBody>
      <dsp:txXfrm>
        <a:off x="35183" y="1164449"/>
        <a:ext cx="10810359" cy="650354"/>
      </dsp:txXfrm>
    </dsp:sp>
    <dsp:sp modelId="{1F29812F-2C73-41C3-BCDF-E3337FCE8F80}">
      <dsp:nvSpPr>
        <dsp:cNvPr id="0" name=""/>
        <dsp:cNvSpPr/>
      </dsp:nvSpPr>
      <dsp:spPr>
        <a:xfrm>
          <a:off x="0" y="1930573"/>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Recorded operations:</a:t>
          </a:r>
        </a:p>
      </dsp:txBody>
      <dsp:txXfrm>
        <a:off x="35183" y="1965756"/>
        <a:ext cx="10810359" cy="650354"/>
      </dsp:txXfrm>
    </dsp:sp>
    <dsp:sp modelId="{9FDA6E21-A9D4-4B38-BB1E-F3989DB31312}">
      <dsp:nvSpPr>
        <dsp:cNvPr id="0" name=""/>
        <dsp:cNvSpPr/>
      </dsp:nvSpPr>
      <dsp:spPr>
        <a:xfrm>
          <a:off x="0" y="2745615"/>
          <a:ext cx="10880725" cy="16518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Start and end of each transaction</a:t>
          </a:r>
        </a:p>
        <a:p>
          <a:pPr marL="228600" lvl="1" indent="-228600" algn="l" defTabSz="977900">
            <a:lnSpc>
              <a:spcPct val="90000"/>
            </a:lnSpc>
            <a:spcBef>
              <a:spcPct val="0"/>
            </a:spcBef>
            <a:spcAft>
              <a:spcPct val="20000"/>
            </a:spcAft>
            <a:buChar char="•"/>
          </a:pPr>
          <a:r>
            <a:rPr lang="en-US" sz="2200" kern="1200" dirty="0"/>
            <a:t>All database modifications</a:t>
          </a:r>
        </a:p>
        <a:p>
          <a:pPr marL="228600" lvl="1" indent="-228600" algn="l" defTabSz="977900">
            <a:lnSpc>
              <a:spcPct val="90000"/>
            </a:lnSpc>
            <a:spcBef>
              <a:spcPct val="0"/>
            </a:spcBef>
            <a:spcAft>
              <a:spcPct val="20000"/>
            </a:spcAft>
            <a:buChar char="•"/>
          </a:pPr>
          <a:r>
            <a:rPr lang="en-US" sz="2200" kern="1200" dirty="0"/>
            <a:t>Extent and page allocation or deallocation</a:t>
          </a:r>
        </a:p>
        <a:p>
          <a:pPr marL="228600" lvl="1" indent="-228600" algn="l" defTabSz="977900">
            <a:lnSpc>
              <a:spcPct val="90000"/>
            </a:lnSpc>
            <a:spcBef>
              <a:spcPct val="0"/>
            </a:spcBef>
            <a:spcAft>
              <a:spcPct val="20000"/>
            </a:spcAft>
            <a:buChar char="•"/>
          </a:pPr>
          <a:r>
            <a:rPr lang="en-US" sz="2200" kern="1200" dirty="0"/>
            <a:t>Creating and dropping objects</a:t>
          </a:r>
        </a:p>
      </dsp:txBody>
      <dsp:txXfrm>
        <a:off x="0" y="2745615"/>
        <a:ext cx="10880725" cy="1651860"/>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57E30-CB40-4959-93BD-2B947737A584}">
      <dsp:nvSpPr>
        <dsp:cNvPr id="0" name=""/>
        <dsp:cNvSpPr/>
      </dsp:nvSpPr>
      <dsp:spPr>
        <a:xfrm>
          <a:off x="53" y="38752"/>
          <a:ext cx="5084401" cy="155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Segoe UI" panose="020B0502040204020203" pitchFamily="34" charset="0"/>
            </a:rPr>
            <a:t>VLF count T-LOG file creation</a:t>
          </a:r>
        </a:p>
      </dsp:txBody>
      <dsp:txXfrm>
        <a:off x="53" y="38752"/>
        <a:ext cx="5084401" cy="1555200"/>
      </dsp:txXfrm>
    </dsp:sp>
    <dsp:sp modelId="{F818A7ED-A6B5-4A92-BE5F-15C48862F954}">
      <dsp:nvSpPr>
        <dsp:cNvPr id="0" name=""/>
        <dsp:cNvSpPr/>
      </dsp:nvSpPr>
      <dsp:spPr>
        <a:xfrm>
          <a:off x="53" y="1593952"/>
          <a:ext cx="5084401" cy="318694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None/>
          </a:pPr>
          <a:r>
            <a:rPr lang="en-US" sz="2200" kern="1200" baseline="0" dirty="0"/>
            <a:t>Size &lt;= 64 MB  </a:t>
          </a:r>
          <a:r>
            <a:rPr lang="en-US" sz="2200" kern="1200" baseline="0" dirty="0">
              <a:sym typeface="Wingdings" panose="05000000000000000000" pitchFamily="2" charset="2"/>
            </a:rPr>
            <a:t></a:t>
          </a:r>
          <a:r>
            <a:rPr lang="en-US" sz="2200" kern="1200" baseline="0" dirty="0"/>
            <a:t> 4 VLFs</a:t>
          </a:r>
          <a:endParaRPr lang="en-US" sz="2200" kern="1200" dirty="0"/>
        </a:p>
        <a:p>
          <a:pPr marL="228600" lvl="1" indent="-228600" algn="l" defTabSz="977900">
            <a:lnSpc>
              <a:spcPct val="90000"/>
            </a:lnSpc>
            <a:spcBef>
              <a:spcPct val="0"/>
            </a:spcBef>
            <a:spcAft>
              <a:spcPct val="15000"/>
            </a:spcAft>
            <a:buNone/>
          </a:pPr>
          <a:r>
            <a:rPr lang="en-US" sz="2200" kern="1200" baseline="0" dirty="0"/>
            <a:t>Between 64 MB and 1 GB </a:t>
          </a:r>
          <a:r>
            <a:rPr lang="en-US" sz="2200" kern="1200" baseline="0" dirty="0">
              <a:sym typeface="Wingdings" panose="05000000000000000000" pitchFamily="2" charset="2"/>
            </a:rPr>
            <a:t></a:t>
          </a:r>
          <a:r>
            <a:rPr lang="en-US" sz="2200" kern="1200" baseline="0" dirty="0"/>
            <a:t> 8 VLFs</a:t>
          </a:r>
          <a:endParaRPr lang="en-US" sz="2200" kern="1200" dirty="0"/>
        </a:p>
        <a:p>
          <a:pPr marL="228600" lvl="1" indent="-228600" algn="l" defTabSz="977900">
            <a:lnSpc>
              <a:spcPct val="90000"/>
            </a:lnSpc>
            <a:spcBef>
              <a:spcPct val="0"/>
            </a:spcBef>
            <a:spcAft>
              <a:spcPct val="15000"/>
            </a:spcAft>
            <a:buNone/>
          </a:pPr>
          <a:r>
            <a:rPr lang="en-US" sz="2200" kern="1200" baseline="0" dirty="0"/>
            <a:t>Size &gt; 1GB </a:t>
          </a:r>
          <a:r>
            <a:rPr lang="en-US" sz="2200" kern="1200" baseline="0" dirty="0">
              <a:sym typeface="Wingdings" panose="05000000000000000000" pitchFamily="2" charset="2"/>
            </a:rPr>
            <a:t></a:t>
          </a:r>
          <a:r>
            <a:rPr lang="en-US" sz="2200" kern="1200" baseline="0" dirty="0"/>
            <a:t>16 VLFs</a:t>
          </a:r>
          <a:endParaRPr lang="en-US" sz="2200" kern="1200" dirty="0"/>
        </a:p>
      </dsp:txBody>
      <dsp:txXfrm>
        <a:off x="53" y="1593952"/>
        <a:ext cx="5084401" cy="3186945"/>
      </dsp:txXfrm>
    </dsp:sp>
    <dsp:sp modelId="{19250715-646C-42CC-A1A1-F71D9840618E}">
      <dsp:nvSpPr>
        <dsp:cNvPr id="0" name=""/>
        <dsp:cNvSpPr/>
      </dsp:nvSpPr>
      <dsp:spPr>
        <a:xfrm>
          <a:off x="5796270" y="38752"/>
          <a:ext cx="5084401" cy="1555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baseline="0" dirty="0">
              <a:latin typeface="Segoe UI" panose="020B0502040204020203" pitchFamily="34" charset="0"/>
            </a:rPr>
            <a:t>VLF count at T-LOG file growth</a:t>
          </a:r>
          <a:endParaRPr lang="en-US" sz="2200" kern="1200" dirty="0">
            <a:latin typeface="Segoe UI" panose="020B0502040204020203" pitchFamily="34" charset="0"/>
          </a:endParaRPr>
        </a:p>
      </dsp:txBody>
      <dsp:txXfrm>
        <a:off x="5796270" y="38752"/>
        <a:ext cx="5084401" cy="1555200"/>
      </dsp:txXfrm>
    </dsp:sp>
    <dsp:sp modelId="{99FF60BD-F326-4F24-B5CD-57346148E5AE}">
      <dsp:nvSpPr>
        <dsp:cNvPr id="0" name=""/>
        <dsp:cNvSpPr/>
      </dsp:nvSpPr>
      <dsp:spPr>
        <a:xfrm>
          <a:off x="5796270" y="1593952"/>
          <a:ext cx="5084401" cy="318694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None/>
          </a:pPr>
          <a:r>
            <a:rPr lang="en-US" sz="2400" kern="1200" baseline="0" dirty="0"/>
            <a:t>Growth &lt;= 64 MB </a:t>
          </a:r>
          <a:r>
            <a:rPr lang="en-US" sz="2400" kern="1200" baseline="0" dirty="0">
              <a:sym typeface="Wingdings" panose="05000000000000000000" pitchFamily="2" charset="2"/>
            </a:rPr>
            <a:t></a:t>
          </a:r>
          <a:r>
            <a:rPr lang="en-US" sz="2400" kern="1200" baseline="0" dirty="0"/>
            <a:t> 4 VLFs</a:t>
          </a:r>
          <a:endParaRPr lang="en-US" sz="2400" kern="1200" dirty="0"/>
        </a:p>
        <a:p>
          <a:pPr marL="228600" lvl="1" indent="-228600" algn="l" defTabSz="1066800">
            <a:lnSpc>
              <a:spcPct val="90000"/>
            </a:lnSpc>
            <a:spcBef>
              <a:spcPct val="0"/>
            </a:spcBef>
            <a:spcAft>
              <a:spcPct val="15000"/>
            </a:spcAft>
            <a:buNone/>
          </a:pPr>
          <a:r>
            <a:rPr lang="en-US" sz="2400" kern="1200" baseline="0" dirty="0"/>
            <a:t>Between 64 MB and 1GB </a:t>
          </a:r>
          <a:r>
            <a:rPr lang="en-US" sz="2400" kern="1200" baseline="0" dirty="0">
              <a:sym typeface="Wingdings" panose="05000000000000000000" pitchFamily="2" charset="2"/>
            </a:rPr>
            <a:t></a:t>
          </a:r>
          <a:r>
            <a:rPr lang="en-US" sz="2400" kern="1200" baseline="0" dirty="0"/>
            <a:t> 8 VLFs</a:t>
          </a:r>
          <a:endParaRPr lang="en-US" sz="2400" kern="1200" dirty="0"/>
        </a:p>
        <a:p>
          <a:pPr marL="228600" lvl="1" indent="-228600" algn="l" defTabSz="1066800">
            <a:lnSpc>
              <a:spcPct val="90000"/>
            </a:lnSpc>
            <a:spcBef>
              <a:spcPct val="0"/>
            </a:spcBef>
            <a:spcAft>
              <a:spcPct val="15000"/>
            </a:spcAft>
            <a:buNone/>
          </a:pPr>
          <a:r>
            <a:rPr lang="en-US" sz="2400" kern="1200" baseline="0" dirty="0"/>
            <a:t>Growth &gt; 1GB  </a:t>
          </a:r>
          <a:r>
            <a:rPr lang="en-US" sz="2400" kern="1200" baseline="0" dirty="0">
              <a:sym typeface="Wingdings" panose="05000000000000000000" pitchFamily="2" charset="2"/>
            </a:rPr>
            <a:t></a:t>
          </a:r>
          <a:r>
            <a:rPr lang="en-US" sz="2400" kern="1200" baseline="0" dirty="0"/>
            <a:t> 16 VLFs</a:t>
          </a:r>
          <a:endParaRPr lang="en-US" sz="2400" kern="1200" dirty="0"/>
        </a:p>
        <a:p>
          <a:pPr marL="228600" lvl="1" indent="-228600" algn="l" defTabSz="1066800">
            <a:lnSpc>
              <a:spcPct val="90000"/>
            </a:lnSpc>
            <a:spcBef>
              <a:spcPct val="0"/>
            </a:spcBef>
            <a:spcAft>
              <a:spcPct val="15000"/>
            </a:spcAft>
            <a:buNone/>
          </a:pPr>
          <a:endParaRPr lang="en-US" sz="2400" kern="1200" dirty="0"/>
        </a:p>
        <a:p>
          <a:pPr marL="228600" lvl="1" indent="-228600" algn="l" defTabSz="1066800">
            <a:lnSpc>
              <a:spcPct val="90000"/>
            </a:lnSpc>
            <a:spcBef>
              <a:spcPct val="0"/>
            </a:spcBef>
            <a:spcAft>
              <a:spcPct val="15000"/>
            </a:spcAft>
            <a:buNone/>
          </a:pPr>
          <a:r>
            <a:rPr lang="en-US" sz="2400" kern="1200" baseline="0" dirty="0"/>
            <a:t>(SQL 2014 and higher)</a:t>
          </a:r>
          <a:endParaRPr lang="en-US" sz="2400" kern="1200" dirty="0"/>
        </a:p>
        <a:p>
          <a:pPr marL="228600" lvl="1" indent="-228600" algn="l" defTabSz="1066800">
            <a:lnSpc>
              <a:spcPct val="90000"/>
            </a:lnSpc>
            <a:spcBef>
              <a:spcPct val="0"/>
            </a:spcBef>
            <a:spcAft>
              <a:spcPct val="15000"/>
            </a:spcAft>
            <a:buNone/>
          </a:pPr>
          <a:r>
            <a:rPr lang="en-US" sz="2400" kern="1200" baseline="0" dirty="0"/>
            <a:t>If growth is less than 1/8th of current size </a:t>
          </a:r>
          <a:r>
            <a:rPr lang="en-US" sz="2400" kern="1200" baseline="0" dirty="0">
              <a:sym typeface="Wingdings" panose="05000000000000000000" pitchFamily="2" charset="2"/>
            </a:rPr>
            <a:t></a:t>
          </a:r>
          <a:r>
            <a:rPr lang="en-US" sz="2400" kern="1200" baseline="0" dirty="0"/>
            <a:t> add 1 VLF</a:t>
          </a:r>
          <a:endParaRPr lang="en-US" sz="2400" kern="1200" dirty="0"/>
        </a:p>
      </dsp:txBody>
      <dsp:txXfrm>
        <a:off x="5796270" y="1593952"/>
        <a:ext cx="5084401" cy="3186945"/>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57E30-CB40-4959-93BD-2B947737A584}">
      <dsp:nvSpPr>
        <dsp:cNvPr id="0" name=""/>
        <dsp:cNvSpPr/>
      </dsp:nvSpPr>
      <dsp:spPr>
        <a:xfrm>
          <a:off x="53" y="46424"/>
          <a:ext cx="5084401" cy="1872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o avoid VLF fragmentation</a:t>
          </a:r>
          <a:endParaRPr lang="en-US" sz="2400" kern="1200" dirty="0"/>
        </a:p>
      </dsp:txBody>
      <dsp:txXfrm>
        <a:off x="53" y="46424"/>
        <a:ext cx="5084401" cy="1872000"/>
      </dsp:txXfrm>
    </dsp:sp>
    <dsp:sp modelId="{F818A7ED-A6B5-4A92-BE5F-15C48862F954}">
      <dsp:nvSpPr>
        <dsp:cNvPr id="0" name=""/>
        <dsp:cNvSpPr/>
      </dsp:nvSpPr>
      <dsp:spPr>
        <a:xfrm>
          <a:off x="53" y="1918424"/>
          <a:ext cx="5084401" cy="28548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Pre-size log files to avoid unplanned file growth</a:t>
          </a:r>
          <a:endParaRPr lang="en-US" sz="2400" kern="1200" dirty="0"/>
        </a:p>
        <a:p>
          <a:pPr marL="228600" lvl="1" indent="-228600" algn="l" defTabSz="1066800">
            <a:lnSpc>
              <a:spcPct val="90000"/>
            </a:lnSpc>
            <a:spcBef>
              <a:spcPct val="0"/>
            </a:spcBef>
            <a:spcAft>
              <a:spcPct val="15000"/>
            </a:spcAft>
            <a:buChar char="•"/>
          </a:pPr>
          <a:r>
            <a:rPr lang="en-US" sz="2400" kern="1200" baseline="0" dirty="0"/>
            <a:t>Set autogrowth to an appropriate fixed size</a:t>
          </a:r>
          <a:endParaRPr lang="en-US" sz="2400" kern="1200" dirty="0"/>
        </a:p>
      </dsp:txBody>
      <dsp:txXfrm>
        <a:off x="53" y="1918424"/>
        <a:ext cx="5084401" cy="2854800"/>
      </dsp:txXfrm>
    </dsp:sp>
    <dsp:sp modelId="{DD8549A9-7F81-4642-B655-0A6E1398356E}">
      <dsp:nvSpPr>
        <dsp:cNvPr id="0" name=""/>
        <dsp:cNvSpPr/>
      </dsp:nvSpPr>
      <dsp:spPr>
        <a:xfrm>
          <a:off x="5796270" y="46424"/>
          <a:ext cx="5084401" cy="1872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o view VLFs</a:t>
          </a:r>
          <a:endParaRPr lang="en-US" sz="2400" kern="1200" dirty="0"/>
        </a:p>
      </dsp:txBody>
      <dsp:txXfrm>
        <a:off x="5796270" y="46424"/>
        <a:ext cx="5084401" cy="1872000"/>
      </dsp:txXfrm>
    </dsp:sp>
    <dsp:sp modelId="{0CD312EF-073D-451E-AE96-15C3C6D43B4D}">
      <dsp:nvSpPr>
        <dsp:cNvPr id="0" name=""/>
        <dsp:cNvSpPr/>
      </dsp:nvSpPr>
      <dsp:spPr>
        <a:xfrm>
          <a:off x="5796270" y="1918424"/>
          <a:ext cx="5084401" cy="285480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latin typeface="+mn-lt"/>
            </a:rPr>
            <a:t>DBCC LOGINFO (&lt;database_id&gt;)</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baseline="0">
              <a:latin typeface="+mn-lt"/>
            </a:rPr>
            <a:t>sys.dm_db_log_info (SQL Server 2016 SP2 and higher )</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baseline="0" dirty="0">
              <a:latin typeface="+mn-lt"/>
            </a:rPr>
            <a:t>Active VLFs have a status of 2</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baseline="0" dirty="0">
              <a:latin typeface="+mn-lt"/>
            </a:rPr>
            <a:t>SQL Server Error Log (SQL 2012 and higher)</a:t>
          </a:r>
          <a:endParaRPr lang="en-US" sz="2400" kern="1200" dirty="0">
            <a:latin typeface="+mn-lt"/>
          </a:endParaRPr>
        </a:p>
      </dsp:txBody>
      <dsp:txXfrm>
        <a:off x="5796270" y="1918424"/>
        <a:ext cx="5084401" cy="2854800"/>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9283"/>
          <a:ext cx="10880725" cy="11419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 VLF?</a:t>
          </a:r>
        </a:p>
      </dsp:txBody>
      <dsp:txXfrm>
        <a:off x="55744" y="65027"/>
        <a:ext cx="10769237" cy="1030432"/>
      </dsp:txXfrm>
    </dsp:sp>
    <dsp:sp modelId="{69C73D1A-7C3F-4D5B-83BA-288144A7FE66}">
      <dsp:nvSpPr>
        <dsp:cNvPr id="0" name=""/>
        <dsp:cNvSpPr/>
      </dsp:nvSpPr>
      <dsp:spPr>
        <a:xfrm>
          <a:off x="0" y="1326883"/>
          <a:ext cx="10880725" cy="11419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an be done to avoid having too many VLFs in the transaction log?</a:t>
          </a:r>
        </a:p>
      </dsp:txBody>
      <dsp:txXfrm>
        <a:off x="55744" y="1382627"/>
        <a:ext cx="10769237" cy="10304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6823"/>
          <a:ext cx="10880725"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size of a data page?</a:t>
          </a:r>
        </a:p>
      </dsp:txBody>
      <dsp:txXfrm>
        <a:off x="33812" y="70635"/>
        <a:ext cx="10813101" cy="625016"/>
      </dsp:txXfrm>
    </dsp:sp>
    <dsp:sp modelId="{887BE0F1-1F8C-4B28-9D5E-FA391E21F9B4}">
      <dsp:nvSpPr>
        <dsp:cNvPr id="0" name=""/>
        <dsp:cNvSpPr/>
      </dsp:nvSpPr>
      <dsp:spPr>
        <a:xfrm>
          <a:off x="0" y="836023"/>
          <a:ext cx="10880725" cy="692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n extent?</a:t>
          </a:r>
        </a:p>
      </dsp:txBody>
      <dsp:txXfrm>
        <a:off x="33812" y="869835"/>
        <a:ext cx="10813101" cy="625016"/>
      </dsp:txXfrm>
    </dsp:sp>
    <dsp:sp modelId="{5E322BD9-1FCD-48EF-845C-3576961322B2}">
      <dsp:nvSpPr>
        <dsp:cNvPr id="0" name=""/>
        <dsp:cNvSpPr/>
      </dsp:nvSpPr>
      <dsp:spPr>
        <a:xfrm>
          <a:off x="0" y="1635223"/>
          <a:ext cx="10880725" cy="692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different page types?</a:t>
          </a:r>
        </a:p>
      </dsp:txBody>
      <dsp:txXfrm>
        <a:off x="33812" y="1669035"/>
        <a:ext cx="10813101" cy="625016"/>
      </dsp:txXfrm>
    </dsp:sp>
    <dsp:sp modelId="{62932160-E06A-4525-89FE-369F18EAB9AC}">
      <dsp:nvSpPr>
        <dsp:cNvPr id="0" name=""/>
        <dsp:cNvSpPr/>
      </dsp:nvSpPr>
      <dsp:spPr>
        <a:xfrm>
          <a:off x="0" y="2434423"/>
          <a:ext cx="10880725" cy="6926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 row overflow?</a:t>
          </a:r>
        </a:p>
      </dsp:txBody>
      <dsp:txXfrm>
        <a:off x="33812" y="2468235"/>
        <a:ext cx="10813101" cy="6250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C217E3-5BA1-4C5B-BCFE-A606E3CB7135}">
      <dsp:nvSpPr>
        <dsp:cNvPr id="0" name=""/>
        <dsp:cNvSpPr/>
      </dsp:nvSpPr>
      <dsp:spPr>
        <a:xfrm>
          <a:off x="0" y="204780"/>
          <a:ext cx="6237531" cy="82251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A database is composed by at least two operating system files:</a:t>
          </a:r>
        </a:p>
      </dsp:txBody>
      <dsp:txXfrm>
        <a:off x="40152" y="244932"/>
        <a:ext cx="6157227" cy="742206"/>
      </dsp:txXfrm>
    </dsp:sp>
    <dsp:sp modelId="{286819B0-3CDE-42B1-B9B9-D2DA7146196D}">
      <dsp:nvSpPr>
        <dsp:cNvPr id="0" name=""/>
        <dsp:cNvSpPr/>
      </dsp:nvSpPr>
      <dsp:spPr>
        <a:xfrm>
          <a:off x="0" y="1082010"/>
          <a:ext cx="6237531" cy="82251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Data files</a:t>
          </a:r>
        </a:p>
      </dsp:txBody>
      <dsp:txXfrm>
        <a:off x="40152" y="1122162"/>
        <a:ext cx="6157227" cy="742206"/>
      </dsp:txXfrm>
    </dsp:sp>
    <dsp:sp modelId="{44B37A3C-6AFE-4AB1-B130-30513727D5FC}">
      <dsp:nvSpPr>
        <dsp:cNvPr id="0" name=""/>
        <dsp:cNvSpPr/>
      </dsp:nvSpPr>
      <dsp:spPr>
        <a:xfrm>
          <a:off x="0" y="1904520"/>
          <a:ext cx="6237531" cy="1573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042"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Contain database objects and data</a:t>
          </a:r>
        </a:p>
        <a:p>
          <a:pPr marL="114300" lvl="1" indent="-114300" algn="l" defTabSz="666750">
            <a:lnSpc>
              <a:spcPct val="90000"/>
            </a:lnSpc>
            <a:spcBef>
              <a:spcPct val="0"/>
            </a:spcBef>
            <a:spcAft>
              <a:spcPct val="20000"/>
            </a:spcAft>
            <a:buChar char="•"/>
          </a:pPr>
          <a:r>
            <a:rPr lang="en-US" sz="1500" kern="1200" dirty="0"/>
            <a:t>First data file is called primary data file. This file has a .mdf extension</a:t>
          </a:r>
        </a:p>
        <a:p>
          <a:pPr marL="114300" lvl="1" indent="-114300" algn="l" defTabSz="666750">
            <a:lnSpc>
              <a:spcPct val="90000"/>
            </a:lnSpc>
            <a:spcBef>
              <a:spcPct val="0"/>
            </a:spcBef>
            <a:spcAft>
              <a:spcPct val="20000"/>
            </a:spcAft>
            <a:buChar char="•"/>
          </a:pPr>
          <a:r>
            <a:rPr lang="en-US" sz="1500" kern="1200" dirty="0"/>
            <a:t>A database may have additional data files, known as secondary data files. They use .ndf extension</a:t>
          </a:r>
        </a:p>
        <a:p>
          <a:pPr marL="114300" lvl="1" indent="-114300" algn="l" defTabSz="666750">
            <a:lnSpc>
              <a:spcPct val="90000"/>
            </a:lnSpc>
            <a:spcBef>
              <a:spcPct val="0"/>
            </a:spcBef>
            <a:spcAft>
              <a:spcPct val="20000"/>
            </a:spcAft>
            <a:buChar char="•"/>
          </a:pPr>
          <a:r>
            <a:rPr lang="en-US" sz="1500" kern="1200" dirty="0"/>
            <a:t>Can be grouped together in filegroups for allocation and administration purposes</a:t>
          </a:r>
        </a:p>
      </dsp:txBody>
      <dsp:txXfrm>
        <a:off x="0" y="1904520"/>
        <a:ext cx="6237531" cy="1573199"/>
      </dsp:txXfrm>
    </dsp:sp>
    <dsp:sp modelId="{7969BC1D-ABFD-46B4-A383-922D6CF9157C}">
      <dsp:nvSpPr>
        <dsp:cNvPr id="0" name=""/>
        <dsp:cNvSpPr/>
      </dsp:nvSpPr>
      <dsp:spPr>
        <a:xfrm>
          <a:off x="0" y="3477720"/>
          <a:ext cx="6237531" cy="82251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Log file</a:t>
          </a:r>
        </a:p>
      </dsp:txBody>
      <dsp:txXfrm>
        <a:off x="40152" y="3517872"/>
        <a:ext cx="6157227" cy="742206"/>
      </dsp:txXfrm>
    </dsp:sp>
    <dsp:sp modelId="{FA9B3665-96F6-47D7-A849-39010078AB1F}">
      <dsp:nvSpPr>
        <dsp:cNvPr id="0" name=""/>
        <dsp:cNvSpPr/>
      </dsp:nvSpPr>
      <dsp:spPr>
        <a:xfrm>
          <a:off x="0" y="4300229"/>
          <a:ext cx="6237531"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042"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Contain Log Records and entries are sequenced</a:t>
          </a:r>
        </a:p>
      </dsp:txBody>
      <dsp:txXfrm>
        <a:off x="0" y="4300229"/>
        <a:ext cx="6237531" cy="31464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276CA2-6909-480D-A02E-797D41D36A42}">
      <dsp:nvSpPr>
        <dsp:cNvPr id="0" name=""/>
        <dsp:cNvSpPr/>
      </dsp:nvSpPr>
      <dsp:spPr>
        <a:xfrm>
          <a:off x="0" y="251533"/>
          <a:ext cx="10880726" cy="2520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One .mdf file per database</a:t>
          </a:r>
        </a:p>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May have one or more .ndf file</a:t>
          </a:r>
        </a:p>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Random reads and writes</a:t>
          </a:r>
        </a:p>
        <a:p>
          <a:pPr marL="457200" lvl="2" indent="-228600" algn="l" defTabSz="889000">
            <a:lnSpc>
              <a:spcPct val="90000"/>
            </a:lnSpc>
            <a:spcBef>
              <a:spcPct val="0"/>
            </a:spcBef>
            <a:spcAft>
              <a:spcPct val="15000"/>
            </a:spcAft>
            <a:buChar char="•"/>
          </a:pPr>
          <a:r>
            <a:rPr lang="en-US" sz="2000" kern="1200" dirty="0">
              <a:latin typeface="Segoe UI" panose="020B0502040204020203" pitchFamily="34" charset="0"/>
            </a:rPr>
            <a:t>Read activity during backups; other activity varies depending on query activity and buffer pool size</a:t>
          </a:r>
        </a:p>
        <a:p>
          <a:pPr marL="457200" lvl="2" indent="-228600" algn="l" defTabSz="889000">
            <a:lnSpc>
              <a:spcPct val="90000"/>
            </a:lnSpc>
            <a:spcBef>
              <a:spcPct val="0"/>
            </a:spcBef>
            <a:spcAft>
              <a:spcPct val="15000"/>
            </a:spcAft>
            <a:buChar char="•"/>
          </a:pPr>
          <a:r>
            <a:rPr lang="en-US" sz="2000" kern="1200" dirty="0">
              <a:latin typeface="Segoe UI" panose="020B0502040204020203" pitchFamily="34" charset="0"/>
            </a:rPr>
            <a:t>Write activity during checkpoints, recovery, and lazy writes</a:t>
          </a:r>
        </a:p>
      </dsp:txBody>
      <dsp:txXfrm>
        <a:off x="0" y="251533"/>
        <a:ext cx="10880726" cy="2520000"/>
      </dsp:txXfrm>
    </dsp:sp>
    <dsp:sp modelId="{DC07B57F-D261-4639-A828-A8C83A449FA6}">
      <dsp:nvSpPr>
        <dsp:cNvPr id="0" name=""/>
        <dsp:cNvSpPr/>
      </dsp:nvSpPr>
      <dsp:spPr>
        <a:xfrm>
          <a:off x="544036" y="15373"/>
          <a:ext cx="7616508"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Segoe UI" panose="020B0502040204020203" pitchFamily="34" charset="0"/>
            </a:rPr>
            <a:t>Data Files</a:t>
          </a:r>
        </a:p>
      </dsp:txBody>
      <dsp:txXfrm>
        <a:off x="567093" y="38430"/>
        <a:ext cx="7570394" cy="426206"/>
      </dsp:txXfrm>
    </dsp:sp>
    <dsp:sp modelId="{A5356A9C-92F2-42D9-B685-432A2513A393}">
      <dsp:nvSpPr>
        <dsp:cNvPr id="0" name=""/>
        <dsp:cNvSpPr/>
      </dsp:nvSpPr>
      <dsp:spPr>
        <a:xfrm>
          <a:off x="0" y="3094093"/>
          <a:ext cx="10880726" cy="25200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One .ldf file per database</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Sequential reads and writes</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Write activity during the log buffer flush operations</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Read activity during checkpoints, backups, and recovery</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Features such as Always On Availability Groups and replication will increase read and write activity</a:t>
          </a:r>
          <a:endParaRPr lang="en-US" sz="2000" kern="1200" dirty="0">
            <a:latin typeface="Segoe UI" panose="020B0502040204020203" pitchFamily="34" charset="0"/>
          </a:endParaRPr>
        </a:p>
      </dsp:txBody>
      <dsp:txXfrm>
        <a:off x="0" y="3094093"/>
        <a:ext cx="10880726" cy="2520000"/>
      </dsp:txXfrm>
    </dsp:sp>
    <dsp:sp modelId="{E69402FC-471B-4A89-B10E-D4C4F3060E8A}">
      <dsp:nvSpPr>
        <dsp:cNvPr id="0" name=""/>
        <dsp:cNvSpPr/>
      </dsp:nvSpPr>
      <dsp:spPr>
        <a:xfrm>
          <a:off x="544036" y="2857933"/>
          <a:ext cx="7616508" cy="4723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244600">
            <a:lnSpc>
              <a:spcPct val="90000"/>
            </a:lnSpc>
            <a:spcBef>
              <a:spcPct val="0"/>
            </a:spcBef>
            <a:spcAft>
              <a:spcPct val="35000"/>
            </a:spcAft>
            <a:buNone/>
          </a:pPr>
          <a:r>
            <a:rPr lang="en-US" sz="2800" kern="1200" baseline="0" dirty="0">
              <a:latin typeface="Segoe UI" panose="020B0502040204020203" pitchFamily="34" charset="0"/>
            </a:rPr>
            <a:t>Log Files</a:t>
          </a:r>
          <a:endParaRPr lang="en-US" sz="2800" kern="1200" dirty="0">
            <a:latin typeface="Segoe UI" panose="020B0502040204020203" pitchFamily="34" charset="0"/>
          </a:endParaRPr>
        </a:p>
      </dsp:txBody>
      <dsp:txXfrm>
        <a:off x="567093" y="2880990"/>
        <a:ext cx="7570394" cy="42620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190ACD-3C53-4469-8217-8490013ED998}">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E0775C-065A-41B0-8322-25B363184CBB}">
      <dsp:nvSpPr>
        <dsp:cNvPr id="0" name=""/>
        <dsp:cNvSpPr/>
      </dsp:nvSpPr>
      <dsp:spPr>
        <a:xfrm>
          <a:off x="544010" y="370534"/>
          <a:ext cx="10269593" cy="74145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Primary filegroup </a:t>
          </a:r>
          <a:endParaRPr lang="en-US" sz="2400" kern="1200" dirty="0"/>
        </a:p>
      </dsp:txBody>
      <dsp:txXfrm>
        <a:off x="544010" y="370534"/>
        <a:ext cx="10269593" cy="741454"/>
      </dsp:txXfrm>
    </dsp:sp>
    <dsp:sp modelId="{9C04FDC8-9C50-4004-8A8D-67598C9055F6}">
      <dsp:nvSpPr>
        <dsp:cNvPr id="0" name=""/>
        <dsp:cNvSpPr/>
      </dsp:nvSpPr>
      <dsp:spPr>
        <a:xfrm>
          <a:off x="80601" y="277852"/>
          <a:ext cx="926818" cy="926818"/>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481774-D1D2-41EA-B32C-76E3A18A1203}">
      <dsp:nvSpPr>
        <dsp:cNvPr id="0" name=""/>
        <dsp:cNvSpPr/>
      </dsp:nvSpPr>
      <dsp:spPr>
        <a:xfrm>
          <a:off x="969103" y="1482909"/>
          <a:ext cx="9844500" cy="741454"/>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User-defined filegroup</a:t>
          </a:r>
          <a:endParaRPr lang="en-US" sz="2400" kern="1200" dirty="0"/>
        </a:p>
      </dsp:txBody>
      <dsp:txXfrm>
        <a:off x="969103" y="1482909"/>
        <a:ext cx="9844500" cy="741454"/>
      </dsp:txXfrm>
    </dsp:sp>
    <dsp:sp modelId="{3B5BE661-090B-458E-974E-BFD531E651A2}">
      <dsp:nvSpPr>
        <dsp:cNvPr id="0" name=""/>
        <dsp:cNvSpPr/>
      </dsp:nvSpPr>
      <dsp:spPr>
        <a:xfrm>
          <a:off x="505694" y="1390228"/>
          <a:ext cx="926818" cy="926818"/>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F70B825-517F-45B9-B244-D415BD9DEE88}">
      <dsp:nvSpPr>
        <dsp:cNvPr id="0" name=""/>
        <dsp:cNvSpPr/>
      </dsp:nvSpPr>
      <dsp:spPr>
        <a:xfrm>
          <a:off x="969103" y="2595285"/>
          <a:ext cx="9844500" cy="74145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Memory optimized data filegroup</a:t>
          </a:r>
          <a:endParaRPr lang="en-US" sz="2400" kern="1200" dirty="0"/>
        </a:p>
      </dsp:txBody>
      <dsp:txXfrm>
        <a:off x="969103" y="2595285"/>
        <a:ext cx="9844500" cy="741454"/>
      </dsp:txXfrm>
    </dsp:sp>
    <dsp:sp modelId="{160295B8-46D3-4F92-BE43-C7B0161F1A81}">
      <dsp:nvSpPr>
        <dsp:cNvPr id="0" name=""/>
        <dsp:cNvSpPr/>
      </dsp:nvSpPr>
      <dsp:spPr>
        <a:xfrm>
          <a:off x="505694" y="2502603"/>
          <a:ext cx="926818" cy="926818"/>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A7FF9D-2718-4B85-9127-2BB8209536CF}">
      <dsp:nvSpPr>
        <dsp:cNvPr id="0" name=""/>
        <dsp:cNvSpPr/>
      </dsp:nvSpPr>
      <dsp:spPr>
        <a:xfrm>
          <a:off x="544010" y="3707660"/>
          <a:ext cx="10269593" cy="741454"/>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FILESTREAM file group</a:t>
          </a:r>
          <a:endParaRPr lang="en-US" sz="2400" kern="1200" dirty="0"/>
        </a:p>
      </dsp:txBody>
      <dsp:txXfrm>
        <a:off x="544010" y="3707660"/>
        <a:ext cx="10269593" cy="741454"/>
      </dsp:txXfrm>
    </dsp:sp>
    <dsp:sp modelId="{1ECA9742-A5B7-4BE2-BBD4-CF63016BD800}">
      <dsp:nvSpPr>
        <dsp:cNvPr id="0" name=""/>
        <dsp:cNvSpPr/>
      </dsp:nvSpPr>
      <dsp:spPr>
        <a:xfrm>
          <a:off x="80601" y="3614978"/>
          <a:ext cx="926818" cy="926818"/>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66C88-09DA-40B7-823E-7E7CC6D7DE8E}">
      <dsp:nvSpPr>
        <dsp:cNvPr id="0" name=""/>
        <dsp:cNvSpPr/>
      </dsp:nvSpPr>
      <dsp:spPr>
        <a:xfrm>
          <a:off x="0" y="1266153"/>
          <a:ext cx="6206049"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Stores 8 kilobytes (KB) pages of data to avoid repeated disk I/O.</a:t>
          </a:r>
        </a:p>
      </dsp:txBody>
      <dsp:txXfrm>
        <a:off x="59399" y="1325552"/>
        <a:ext cx="6087251" cy="1098002"/>
      </dsp:txXfrm>
    </dsp:sp>
    <dsp:sp modelId="{BE5F8009-EB32-4274-A35A-881F3B788EDA}">
      <dsp:nvSpPr>
        <dsp:cNvPr id="0" name=""/>
        <dsp:cNvSpPr/>
      </dsp:nvSpPr>
      <dsp:spPr>
        <a:xfrm>
          <a:off x="0" y="2670153"/>
          <a:ext cx="6206049"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Pages held in the buffer until the space is needed by something else.</a:t>
          </a:r>
        </a:p>
      </dsp:txBody>
      <dsp:txXfrm>
        <a:off x="59399" y="2729552"/>
        <a:ext cx="6087251" cy="109800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3D046F-8B4E-4968-BA21-B8542A4D65D5}">
      <dsp:nvSpPr>
        <dsp:cNvPr id="0" name=""/>
        <dsp:cNvSpPr/>
      </dsp:nvSpPr>
      <dsp:spPr>
        <a:xfrm>
          <a:off x="0" y="26404"/>
          <a:ext cx="10880726"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SQL Server will flush the log buffer to the log file</a:t>
          </a:r>
          <a:endParaRPr lang="en-US" sz="3200" kern="1200" dirty="0"/>
        </a:p>
      </dsp:txBody>
      <dsp:txXfrm>
        <a:off x="59399" y="85803"/>
        <a:ext cx="10761928" cy="1098002"/>
      </dsp:txXfrm>
    </dsp:sp>
    <dsp:sp modelId="{90C5942A-676D-4C7E-971D-5ADE5985D74D}">
      <dsp:nvSpPr>
        <dsp:cNvPr id="0" name=""/>
        <dsp:cNvSpPr/>
      </dsp:nvSpPr>
      <dsp:spPr>
        <a:xfrm>
          <a:off x="0" y="1251952"/>
          <a:ext cx="10880726" cy="1782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SQL Server gets a commit request of a transaction that changes data.</a:t>
          </a:r>
          <a:endParaRPr lang="en-US" sz="2400" kern="1200" dirty="0"/>
        </a:p>
        <a:p>
          <a:pPr marL="228600" lvl="1" indent="-228600" algn="l" defTabSz="1066800">
            <a:lnSpc>
              <a:spcPct val="90000"/>
            </a:lnSpc>
            <a:spcBef>
              <a:spcPct val="0"/>
            </a:spcBef>
            <a:spcAft>
              <a:spcPct val="20000"/>
            </a:spcAft>
            <a:buChar char="•"/>
          </a:pPr>
          <a:r>
            <a:rPr lang="en-US" sz="2400" kern="1200" baseline="0" dirty="0"/>
            <a:t>The log buffer fills up. (Max size 60kb.)</a:t>
          </a:r>
          <a:endParaRPr lang="en-US" sz="2400" kern="1200" dirty="0"/>
        </a:p>
        <a:p>
          <a:pPr marL="228600" lvl="1" indent="-228600" algn="l" defTabSz="1066800">
            <a:lnSpc>
              <a:spcPct val="90000"/>
            </a:lnSpc>
            <a:spcBef>
              <a:spcPct val="0"/>
            </a:spcBef>
            <a:spcAft>
              <a:spcPct val="20000"/>
            </a:spcAft>
            <a:buChar char="•"/>
          </a:pPr>
          <a:r>
            <a:rPr lang="en-US" sz="2400" kern="1200" baseline="0" dirty="0"/>
            <a:t>SQL Server needs to harden dirty data pages (checkpoints)</a:t>
          </a:r>
          <a:endParaRPr lang="en-US" sz="2400" kern="1200" dirty="0"/>
        </a:p>
        <a:p>
          <a:pPr marL="228600" lvl="1" indent="-228600" algn="l" defTabSz="1066800">
            <a:lnSpc>
              <a:spcPct val="90000"/>
            </a:lnSpc>
            <a:spcBef>
              <a:spcPct val="0"/>
            </a:spcBef>
            <a:spcAft>
              <a:spcPct val="20000"/>
            </a:spcAft>
            <a:buChar char="•"/>
          </a:pPr>
          <a:r>
            <a:rPr lang="en-US" sz="2400" kern="1200" baseline="0" dirty="0"/>
            <a:t>Manually request a log buffer flush using the </a:t>
          </a:r>
          <a:r>
            <a:rPr lang="en-US" sz="2400" kern="1200" baseline="0" dirty="0" err="1"/>
            <a:t>sys.sp_flush_log</a:t>
          </a:r>
          <a:r>
            <a:rPr lang="en-US" sz="2400" kern="1200" baseline="0" dirty="0"/>
            <a:t> procedure</a:t>
          </a:r>
          <a:endParaRPr lang="en-US" sz="2400" kern="1200" dirty="0"/>
        </a:p>
      </dsp:txBody>
      <dsp:txXfrm>
        <a:off x="0" y="1251952"/>
        <a:ext cx="10880726" cy="1782787"/>
      </dsp:txXfrm>
    </dsp:sp>
    <dsp:sp modelId="{D145050A-2D0A-48DE-B8EB-0A9036A8EE26}">
      <dsp:nvSpPr>
        <dsp:cNvPr id="0" name=""/>
        <dsp:cNvSpPr/>
      </dsp:nvSpPr>
      <dsp:spPr>
        <a:xfrm>
          <a:off x="0" y="3061505"/>
          <a:ext cx="10880726"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Log buffer flushing results in a WRITELOG wait type.</a:t>
          </a:r>
          <a:endParaRPr lang="en-US" sz="3200" kern="1200" dirty="0"/>
        </a:p>
      </dsp:txBody>
      <dsp:txXfrm>
        <a:off x="59399" y="3120904"/>
        <a:ext cx="10761928" cy="109800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31.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31/2024</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hannel9.msdn.com/Events/TechEd/NorthAmerica/2013/DBI-B309"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7" Type="http://schemas.openxmlformats.org/officeDocument/2006/relationships/hyperlink" Target="https://docs.microsoft.com/en-us/previous-versions/sql/sql-server-2008/ee410782(v=sql.100)"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docs.microsoft.com/en-us/sql/relational-databases/writing-pages?view=sql-server-ver15" TargetMode="External"/><Relationship Id="rId5" Type="http://schemas.openxmlformats.org/officeDocument/2006/relationships/hyperlink" Target="https://docs.microsoft.com/en-us/sql/relational-databases/sql-server-transaction-log-architecture-and-management-guide?view=sql-server-ver15#WAL" TargetMode="External"/><Relationship Id="rId4" Type="http://schemas.openxmlformats.org/officeDocument/2006/relationships/hyperlink" Target="https://docs.microsoft.com/en-us/previous-versions/office/developer/server-technologies/aa480356(v=msdn.10)"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35.xml"/><Relationship Id="rId5" Type="http://schemas.openxmlformats.org/officeDocument/2006/relationships/hyperlink" Target="https://docs.microsoft.com/en-us/previous-versions/sql/sql-server-2008-r2/ms345403(v=sql.105)" TargetMode="External"/><Relationship Id="rId4" Type="http://schemas.openxmlformats.org/officeDocument/2006/relationships/hyperlink" Target="https://docs.microsoft.com/en-us/previous-versions/sql/sql-server-2008-r2/aa337525(v=sql.105)"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sql/relational-databases/logs/database-checkpoints-sql-server?view=sql-server-ver15"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s://docs.microsoft.com/en-us/sql/relational-databases/logs/change-the-target-recovery-time-of-a-database-sql-server?view=sql-server-ver15" TargetMode="External"/><Relationship Id="rId4" Type="http://schemas.openxmlformats.org/officeDocument/2006/relationships/hyperlink" Target="https://docs.microsoft.com/en-us/sql/database-engine/configure-windows/configure-the-recovery-interval-server-configuration-option?view=sql-server-ver15"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t-sql/statements/set-statistics-io-transact-sql?view=sql-server-ver15"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docs.microsoft.com/en-us/sql/t-sql/statements/set-statistics-time-transact-sql?view=sql-server-ver15"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39.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rchive/blogs/askjay/troubleshooting-slow-disk-io-in-sql-server"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techcommunity.microsoft.com/t5/sql-server-support/slow-i-o-sql-server-and-disk-i-o-performance/ba-p/333983" TargetMode="External"/><Relationship Id="rId5" Type="http://schemas.openxmlformats.org/officeDocument/2006/relationships/hyperlink" Target="https://docs.microsoft.com/en-us/archive/blogs/askcore/windows-performance-monitor-disk-counters-explained" TargetMode="External"/><Relationship Id="rId4" Type="http://schemas.openxmlformats.org/officeDocument/2006/relationships/hyperlink" Target="https://docs.microsoft.com/en-us/archive/blogs/askcore/measuring-disk-latency-with-windows-performance-monitor-perfmon"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35.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sqlskills.com/BLOGS/PAUL/post/Inside-the-Storage-Engine-Anatomy-of-a-page.aspx"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docs.microsoft.com/en-us/sql/relational-databases/pages-and-extents-architecture-guide?view=sql-server-ver15"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learn.microsoft.com/en-us/sql/relational-databases/pages-and-extents-architecture-guide?view=sql-server-ver16"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memory-optimized-tempdb-metadata"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channel9.msdn.com/Shows/Data-Exposed/It-Just-Runs-Faster-SQL-Server-2019-TempDB-Improvements"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erformance-improvements-in-tempdb-for-sql-server"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archive/blogs/bobsql/sql-2016-it-just-runs-faster-automatic-tempdb-configuration"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sql/t-sql/database-console-commands/dbcc-traceon-trace-flags-transact-sql?view=sql-server-ver15" TargetMode="External"/><Relationship Id="rId2" Type="http://schemas.openxmlformats.org/officeDocument/2006/relationships/slide" Target="../slides/slide52.xml"/><Relationship Id="rId1" Type="http://schemas.openxmlformats.org/officeDocument/2006/relationships/notesMaster" Target="../notesMasters/notesMaster1.xml"/><Relationship Id="rId4" Type="http://schemas.openxmlformats.org/officeDocument/2006/relationships/hyperlink" Target="https://docs.microsoft.com/en-us/sql/relational-databases/databases/tempdb-database?view=sql-server-ver15#memory-optimized-tempdb-metadata"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info.microsoft.com/ww-landing-sql-server-2022.html" TargetMode="External"/><Relationship Id="rId2" Type="http://schemas.openxmlformats.org/officeDocument/2006/relationships/slide" Target="../slides/slide54.xml"/><Relationship Id="rId1" Type="http://schemas.openxmlformats.org/officeDocument/2006/relationships/notesMaster" Target="../notesMasters/notesMaster1.xml"/><Relationship Id="rId4" Type="http://schemas.openxmlformats.org/officeDocument/2006/relationships/hyperlink" Target="https://cloudblogs.microsoft.com/sqlserver/2022/07/21/improve-scalability-with-system-page-latch-concurrency-enhancements-in-sql-server-2022/" TargetMode="Externa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www.sqlskills.com/BLOGS/KIMBERLY/post/Transaction-Log-VLFs-too-many-or-too-few.aspx"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physical_arch"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blogs.msdn.com/b/blogdoezequiel/archive/tags/vlf" TargetMode="External"/><Relationship Id="rId2" Type="http://schemas.openxmlformats.org/officeDocument/2006/relationships/slide" Target="../slides/slide66.xml"/><Relationship Id="rId1" Type="http://schemas.openxmlformats.org/officeDocument/2006/relationships/notesMaster" Target="../notesMasters/notesMaster1.xml"/><Relationship Id="rId5" Type="http://schemas.openxmlformats.org/officeDocument/2006/relationships/hyperlink" Target="http://blogs.msdn.com/b/blogdoezequiel/archive/2011/05/24/sql-swiss-army-knife-9-vlfs-revisited.aspx" TargetMode="External"/><Relationship Id="rId4" Type="http://schemas.openxmlformats.org/officeDocument/2006/relationships/hyperlink" Target="http://blogs.msdn.com/b/blogdoezequiel/archive/2011/04/26/can-log-files-growth-affect-dml-post-cu6-update.aspx"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physical_arch"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sql/relational-databases/system-dynamic-management-views/sys-dm-db-page-info-transact-sql?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1) What is the size of a data page</a:t>
            </a:r>
          </a:p>
          <a:p>
            <a:r>
              <a:rPr lang="en-US" dirty="0"/>
              <a:t>A1) 8KB</a:t>
            </a:r>
          </a:p>
          <a:p>
            <a:endParaRPr lang="en-US" dirty="0"/>
          </a:p>
          <a:p>
            <a:r>
              <a:rPr lang="en-US" dirty="0"/>
              <a:t>Q2) What is an extent?</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2) Extents are a collection of eight physically contiguous pages (64KB) and are used to efficiently manage the pages. </a:t>
            </a:r>
          </a:p>
          <a:p>
            <a:endParaRPr lang="en-US" dirty="0"/>
          </a:p>
          <a:p>
            <a:r>
              <a:rPr lang="en-US" dirty="0"/>
              <a:t>Q3) What are different page types?</a:t>
            </a:r>
          </a:p>
          <a:p>
            <a:r>
              <a:rPr lang="en-US" dirty="0"/>
              <a:t>A3) </a:t>
            </a:r>
          </a:p>
          <a:p>
            <a:r>
              <a:rPr lang="en-US" dirty="0"/>
              <a:t>	DATA</a:t>
            </a:r>
          </a:p>
          <a:p>
            <a:r>
              <a:rPr lang="en-US" dirty="0"/>
              <a:t>	INDEX</a:t>
            </a:r>
          </a:p>
          <a:p>
            <a:r>
              <a:rPr lang="en-US" dirty="0"/>
              <a:t>	TEXT/IMGE</a:t>
            </a:r>
          </a:p>
          <a:p>
            <a:r>
              <a:rPr lang="en-US" dirty="0"/>
              <a:t>	GAM, SGAM</a:t>
            </a:r>
          </a:p>
          <a:p>
            <a:r>
              <a:rPr lang="en-US" dirty="0"/>
              <a:t>	PFS,</a:t>
            </a:r>
          </a:p>
          <a:p>
            <a:r>
              <a:rPr lang="en-US" dirty="0"/>
              <a:t>	IAM</a:t>
            </a:r>
          </a:p>
          <a:p>
            <a:r>
              <a:rPr lang="en-US" dirty="0"/>
              <a:t>	BCM</a:t>
            </a:r>
          </a:p>
          <a:p>
            <a:r>
              <a:rPr lang="en-US" dirty="0"/>
              <a:t>	DCM</a:t>
            </a:r>
          </a:p>
          <a:p>
            <a:r>
              <a:rPr lang="en-US" dirty="0"/>
              <a:t>	Boot</a:t>
            </a:r>
          </a:p>
          <a:p>
            <a:r>
              <a:rPr lang="en-US" dirty="0"/>
              <a:t>	File Header</a:t>
            </a:r>
          </a:p>
          <a:p>
            <a:endParaRPr lang="en-US" dirty="0"/>
          </a:p>
          <a:p>
            <a:r>
              <a:rPr lang="en-US" dirty="0"/>
              <a:t>Q4) What is a row overflow?</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4) When the total row size of all fixed and variable columns in a table exceeds the 8,060 byte limitation, SQL Server dynamically moves one or more variable length columns to pages in the ROW_OVERFLOW_DATA allocation unit, starting with the column with the largest width.</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19295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6</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31/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Microsoft SQL Server Transaction Log Internals</a:t>
            </a:r>
          </a:p>
          <a:p>
            <a:r>
              <a:rPr lang="en-US" dirty="0">
                <a:hlinkClick r:id="rId3"/>
              </a:rPr>
              <a:t>https://channel9.msdn.com/Events/TechEd/NorthAmerica/2013/DBI-B309</a:t>
            </a:r>
            <a:endParaRPr lang="en-US" dirty="0"/>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At a minimum, every SQL Server database has two operating system files: a data file and a log file. Data files contain data and objects such as tables, indexes, stored procedures, and views. Log files contain the information that is required to recover all transactions in the database. Data files can be grouped together in filegroups for allocation and administration purposes.</a:t>
            </a:r>
          </a:p>
          <a:p>
            <a:r>
              <a:rPr lang="en-US" sz="882" b="1" i="0" kern="1200" baseline="0" dirty="0">
                <a:solidFill>
                  <a:schemeClr val="tx1"/>
                </a:solidFill>
                <a:effectLst/>
                <a:latin typeface="+mn-lt"/>
                <a:ea typeface="+mn-ea"/>
                <a:cs typeface="+mn-cs"/>
              </a:rPr>
              <a:t>Database Files</a:t>
            </a:r>
          </a:p>
          <a:p>
            <a:r>
              <a:rPr lang="en-US" sz="882" b="0" i="0" kern="1200" baseline="0" dirty="0">
                <a:solidFill>
                  <a:schemeClr val="tx1"/>
                </a:solidFill>
                <a:effectLst/>
                <a:latin typeface="+mn-lt"/>
                <a:ea typeface="+mn-ea"/>
                <a:cs typeface="+mn-cs"/>
              </a:rPr>
              <a:t>SQL Server databases have three types of file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Primary</a:t>
            </a:r>
          </a:p>
          <a:p>
            <a:r>
              <a:rPr lang="en-US" sz="882" b="0" i="0" kern="1200" baseline="0" dirty="0">
                <a:solidFill>
                  <a:schemeClr val="tx1"/>
                </a:solidFill>
                <a:effectLst/>
                <a:latin typeface="+mn-lt"/>
                <a:ea typeface="+mn-ea"/>
                <a:cs typeface="+mn-cs"/>
              </a:rPr>
              <a:t>The primary data file contains the startup information for the database and points to the other files in the database. User data and objects can be stored in this file or in secondary data files. Every database has one primary data file. The recommended file name extension for primary data files is .mdf.</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Secondary</a:t>
            </a:r>
          </a:p>
          <a:p>
            <a:r>
              <a:rPr lang="en-US" sz="882" b="0" i="0" kern="1200" baseline="0" dirty="0">
                <a:solidFill>
                  <a:schemeClr val="tx1"/>
                </a:solidFill>
                <a:effectLst/>
                <a:latin typeface="+mn-lt"/>
                <a:ea typeface="+mn-ea"/>
                <a:cs typeface="+mn-cs"/>
              </a:rPr>
              <a:t>Secondary data files are optional, are user-defined, and store user data. Secondary files can be used to spread data across multiple disks by putting each file on a different disk drive. Additionally, if a database exceeds the maximum size for a single Windows file, you can use secondary data files so the database can continue to grow.</a:t>
            </a:r>
            <a:br>
              <a:rPr lang="en-US" sz="882" b="0" i="0" kern="1200" baseline="0" dirty="0">
                <a:solidFill>
                  <a:schemeClr val="tx1"/>
                </a:solidFill>
                <a:effectLst/>
                <a:latin typeface="+mn-lt"/>
                <a:ea typeface="+mn-ea"/>
                <a:cs typeface="+mn-cs"/>
              </a:rPr>
            </a:b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e recommended file name extension for secondary data files is .ndf.Transaction </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Log</a:t>
            </a:r>
          </a:p>
          <a:p>
            <a:r>
              <a:rPr lang="en-US" sz="882" b="0" i="0" kern="1200" baseline="0" dirty="0">
                <a:solidFill>
                  <a:schemeClr val="tx1"/>
                </a:solidFill>
                <a:effectLst/>
                <a:latin typeface="+mn-lt"/>
                <a:ea typeface="+mn-ea"/>
                <a:cs typeface="+mn-cs"/>
              </a:rPr>
              <a:t>The transaction log files hold the log information that is used to recover the database. There must be at least one log file for each database. The recommended file name extension for transaction logs is .ldf.</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691578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It is possible to have more than one log file per database, but it is not recommended. </a:t>
            </a:r>
            <a:br>
              <a:rPr lang="en-US" dirty="0"/>
            </a:br>
            <a:r>
              <a:rPr lang="en-US" dirty="0"/>
              <a:t>As Log files are accessed sequentially (for both read and write operations), multiple log files will not provide any performance benefi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790161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different types of filegroups:</a:t>
            </a:r>
          </a:p>
          <a:p>
            <a:pPr lvl="1"/>
            <a:r>
              <a:rPr lang="en-US" dirty="0"/>
              <a:t>Primary filegroup </a:t>
            </a:r>
          </a:p>
          <a:p>
            <a:pPr lvl="2"/>
            <a:r>
              <a:rPr lang="en-US" dirty="0"/>
              <a:t>Every database has a primary filegroup which contains the primary data file and any secondary files that are not put into other filegroups. </a:t>
            </a:r>
          </a:p>
          <a:p>
            <a:pPr lvl="1"/>
            <a:r>
              <a:rPr lang="en-US" dirty="0"/>
              <a:t>User-defined filegroup</a:t>
            </a:r>
          </a:p>
          <a:p>
            <a:pPr lvl="2"/>
            <a:r>
              <a:rPr lang="en-US" dirty="0"/>
              <a:t>Can be created to group data files together for administrative, data allocation, and placement purposes.</a:t>
            </a:r>
          </a:p>
          <a:p>
            <a:pPr lvl="1"/>
            <a:r>
              <a:rPr lang="en-US" dirty="0"/>
              <a:t>Memory optimized data filegroup</a:t>
            </a:r>
          </a:p>
          <a:p>
            <a:pPr lvl="2"/>
            <a:r>
              <a:rPr lang="en-US" dirty="0"/>
              <a:t>The memory-optimized filegroup is required to create memory-optimized tables.</a:t>
            </a:r>
          </a:p>
          <a:p>
            <a:pPr lvl="1"/>
            <a:r>
              <a:rPr lang="en-US" dirty="0"/>
              <a:t>FILESTREAM file group</a:t>
            </a:r>
          </a:p>
          <a:p>
            <a:pPr lvl="2"/>
            <a:r>
              <a:rPr lang="en-US" dirty="0"/>
              <a:t>FILESTREAM enables SQL Server-based applications to store unstructured data, such as documents and images, on the file system.</a:t>
            </a:r>
          </a:p>
          <a:p>
            <a:pPr lvl="2"/>
            <a:r>
              <a:rPr lang="en-US" dirty="0"/>
              <a:t>A FILESTREAM filegroup is a special filegroup that contains file system directories instead of the files themselves. These file system directories are called </a:t>
            </a:r>
            <a:r>
              <a:rPr lang="en-US" i="1" dirty="0"/>
              <a:t>data containers</a:t>
            </a:r>
            <a:r>
              <a:rPr lang="en-US" dirty="0"/>
              <a:t>. Data containers are the interface between Database Engine storage and file system storage.</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dirty="0"/>
          </a:p>
        </p:txBody>
      </p:sp>
    </p:spTree>
    <p:extLst>
      <p:ext uri="{BB962C8B-B14F-4D97-AF65-F5344CB8AC3E}">
        <p14:creationId xmlns:p14="http://schemas.microsoft.com/office/powerpoint/2010/main" val="3390529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describes the role of the </a:t>
            </a:r>
            <a:r>
              <a:rPr lang="en-US" b="1" dirty="0"/>
              <a:t>write-ahead transaction log </a:t>
            </a:r>
            <a:r>
              <a:rPr lang="en-US" dirty="0"/>
              <a:t>in recording data modifications to disk. SQL Server uses a write-ahead logging (WAL) algorithm, </a:t>
            </a:r>
            <a:r>
              <a:rPr lang="en-US" b="1" dirty="0"/>
              <a:t>which guarantees that no data modifications are written to disk before the associated log record is written to disk</a:t>
            </a:r>
            <a:r>
              <a:rPr lang="en-US" dirty="0"/>
              <a:t>. </a:t>
            </a:r>
            <a:r>
              <a:rPr lang="en-US" b="1" dirty="0"/>
              <a:t>This maintains the ACID properties for a transaction</a:t>
            </a:r>
            <a:r>
              <a:rPr lang="en-US" dirty="0"/>
              <a:t>.</a:t>
            </a:r>
          </a:p>
          <a:p>
            <a:endParaRPr lang="en-US" dirty="0"/>
          </a:p>
          <a:p>
            <a:r>
              <a:rPr lang="en-US" dirty="0"/>
              <a:t>To understand how the write-ahead log works, it is important for you to know how modified data is written to disk. SQL Server maintains a buffer cache into which it reads data pages when data must be retrieved. When a page is modified in the buffer cache, it is not immediately written back to disk; instead, the page is marked as dirty. A data page can have more than one logical write made before it is physically written to disk. For each logical write, a transaction log record is inserted in the log cache that records the modification. The log records must be written to disk before the associated dirty page is removed from the buffer cache and written to disk. The checkpoint process periodically scans the buffer cache for buffers with pages from a specified database and writes all dirty pages to disk. Checkpoints save time during a later recovery by creating a point at which all dirty pages are guaranteed to have been written to disk.</a:t>
            </a:r>
          </a:p>
          <a:p>
            <a:endParaRPr lang="en-US" dirty="0"/>
          </a:p>
          <a:p>
            <a:r>
              <a:rPr lang="en-US" dirty="0"/>
              <a:t>Writing a modified data page from the buffer cache to disk is called flushing the page. SQL Server has logic that prevents a dirty page from being flushed before the associated log record is written. Log records are written to disk when the log buffers are flushed. This happens whenever a transaction commits or the log buffers become full.</a:t>
            </a:r>
          </a:p>
          <a:p>
            <a:endParaRPr lang="en-US" dirty="0"/>
          </a:p>
          <a:p>
            <a:r>
              <a:rPr lang="en-US" b="1" dirty="0"/>
              <a:t>Key Points</a:t>
            </a:r>
            <a:r>
              <a:rPr lang="en-US" dirty="0"/>
              <a:t>:</a:t>
            </a:r>
          </a:p>
          <a:p>
            <a:pPr>
              <a:spcAft>
                <a:spcPts val="600"/>
              </a:spcAft>
            </a:pPr>
            <a:r>
              <a:rPr lang="en-US" dirty="0"/>
              <a:t>SQL Server uses the buffer pool to minimize the amount of disk I/O that must be done against the data file. When a page is required for a read or write operation, the buffer pool is checked first. If the page is already in the buffer pool, the operation can be satisfied from memory only.</a:t>
            </a:r>
          </a:p>
          <a:p>
            <a:pPr>
              <a:spcAft>
                <a:spcPts val="600"/>
              </a:spcAft>
            </a:pPr>
            <a:r>
              <a:rPr lang="en-US" dirty="0"/>
              <a:t>When a modification happens, the change is made to the data page in memory first, and then a log record is written to the transaction log file. The page will not be written out to disk until the CHECKPOINT process comes through and flushes changes out to the data file. If the SQL Server process is shut down unexpectedly and the memory space is lost, SQL Server uses the transaction log to bring the data file up to date with any changes that were committed before the crash but not persisted to disk. This is called recovery.</a:t>
            </a:r>
          </a:p>
          <a:p>
            <a:pPr>
              <a:spcAft>
                <a:spcPts val="600"/>
              </a:spcAft>
            </a:pPr>
            <a:r>
              <a:rPr lang="en-US" dirty="0"/>
              <a:t>To optimize the I/O, SQL Server will attempt to gather pages together so that larger chunks of a file can be read or written in a single operation. For reads, SQL Server has a read ahead mechanism that will read contiguous pages from an object in a single request if needed by a query. For writes, SQL Server will gather together a chunk of contiguous pages that have been modified so they can be written in a single request.</a:t>
            </a:r>
          </a:p>
          <a:p>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CID properti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previous-versions/office/developer/server-technologies/aa480356(v=msdn.1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Write-Ahead Transaction Log</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sql-server-transaction-log-architecture-and-management-guide?view=sql-server-ver15#WAL</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Writing Pag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6"/>
              </a:rPr>
              <a:t>https://docs.microsoft.com/en-us/sql/relational-databases/writing-page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nalyzing I/O Characteristics and Sizing Storage Systems for SQL Server Database Applications </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7"/>
              </a:rPr>
              <a:t>https://docs.microsoft.com/en-us/previous-versions/sql/sql-server-2008/ee410782(v=sql.10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146258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The buffer pool generally represents the largest percentage of SQL Server memory. In NUMA systems, there will be a separate buffer pool node for each NUMA node. </a:t>
            </a:r>
          </a:p>
          <a:p>
            <a:pPr>
              <a:spcAft>
                <a:spcPts val="600"/>
              </a:spcAft>
            </a:pPr>
            <a:r>
              <a:rPr lang="en-US" dirty="0"/>
              <a:t>The buffer pool abstracts the physical location of data and provides caching functions. All data accessed by SQL Server goes through the buffer pool. Therefore, the buffer pool can determine the data that should be stored in the cache to boost performance for frequently used objects. </a:t>
            </a:r>
          </a:p>
          <a:p>
            <a:pPr>
              <a:spcAft>
                <a:spcPts val="600"/>
              </a:spcAft>
            </a:pPr>
            <a:r>
              <a:rPr lang="en-US" dirty="0"/>
              <a:t>There are two ways that the data is accessed from the buffer pool: </a:t>
            </a:r>
          </a:p>
          <a:p>
            <a:pPr marL="171450" indent="-171450">
              <a:spcAft>
                <a:spcPts val="600"/>
              </a:spcAft>
              <a:buFont typeface="Arial" pitchFamily="34" charset="0"/>
              <a:buChar char="•"/>
            </a:pPr>
            <a:r>
              <a:rPr lang="en-US" b="1" dirty="0"/>
              <a:t>Logical read</a:t>
            </a:r>
            <a:r>
              <a:rPr lang="en-US" dirty="0"/>
              <a:t>. Indicates that the data requested is already present in the cache. A logical read-only involves memory access, so the response time is optimum. </a:t>
            </a:r>
          </a:p>
          <a:p>
            <a:pPr marL="171450" indent="-171450">
              <a:spcAft>
                <a:spcPts val="600"/>
              </a:spcAft>
              <a:buFont typeface="Arial" pitchFamily="34" charset="0"/>
              <a:buChar char="•"/>
            </a:pPr>
            <a:r>
              <a:rPr lang="en-US" b="1" dirty="0"/>
              <a:t>Physical read</a:t>
            </a:r>
            <a:r>
              <a:rPr lang="en-US" dirty="0"/>
              <a:t>. Indicates that the data requested is not present in the cache, so the data must be found by using the database files. A physical read is a disk I/O operation, which is more expensive than memory access. When the I/O operation completes, the request is satisfied and the data is stored in the cache so that it can be accessed later. </a:t>
            </a:r>
          </a:p>
          <a:p>
            <a:pPr>
              <a:spcAft>
                <a:spcPts val="600"/>
              </a:spcAft>
            </a:pPr>
            <a:r>
              <a:rPr lang="en-US" dirty="0"/>
              <a:t>When a query runs, the database pages that contain the data required to return the query result may or may not be located in physical memory. The query does not have the notion of data locality; it simply requests the page from the buffer pool. </a:t>
            </a:r>
          </a:p>
          <a:p>
            <a:pPr>
              <a:spcAft>
                <a:spcPts val="600"/>
              </a:spcAft>
            </a:pPr>
            <a:r>
              <a:rPr lang="en-US" dirty="0"/>
              <a:t>If the pages are in memory, then there is a logical read of the page, which results in a </a:t>
            </a:r>
            <a:r>
              <a:rPr lang="en-US" i="1" dirty="0"/>
              <a:t>cache hit</a:t>
            </a:r>
            <a:r>
              <a:rPr lang="en-US" dirty="0"/>
              <a:t>. If the page is not in memory, then there needs to be a physical read of the page from the disk subsystem. This results in a </a:t>
            </a:r>
            <a:r>
              <a:rPr lang="en-US" i="1" dirty="0"/>
              <a:t>cache miss event</a:t>
            </a:r>
            <a:r>
              <a:rPr lang="en-US" dirty="0"/>
              <a:t>. </a:t>
            </a:r>
          </a:p>
          <a:p>
            <a:endParaRPr lang="en-US" b="1" dirty="0"/>
          </a:p>
          <a:p>
            <a:r>
              <a:rPr lang="en-US" b="1" dirty="0"/>
              <a:t>Additional Reading:</a:t>
            </a:r>
          </a:p>
          <a:p>
            <a:r>
              <a:rPr lang="en-US" i="1" dirty="0"/>
              <a:t>Buffer Management</a:t>
            </a:r>
          </a:p>
          <a:p>
            <a:r>
              <a:rPr lang="en-US" dirty="0">
                <a:hlinkClick r:id="rId4"/>
              </a:rPr>
              <a:t>https://docs.microsoft.com/en-us/previous-versions/sql/sql-server-2008-r2/aa337525(v=sql.105)</a:t>
            </a:r>
            <a:endParaRPr lang="en-US" i="1" dirty="0"/>
          </a:p>
          <a:p>
            <a:r>
              <a:rPr lang="en-US" i="1" dirty="0"/>
              <a:t>Growing and Shrinking the Buffer Pool Under NUMA</a:t>
            </a:r>
          </a:p>
          <a:p>
            <a:r>
              <a:rPr lang="en-US" dirty="0">
                <a:hlinkClick r:id="rId5"/>
              </a:rPr>
              <a:t>https://docs.microsoft.com/en-us/previous-versions/sql/sql-server-2008-r2/ms345403(v=sql.105)</a:t>
            </a:r>
            <a:endParaRPr lang="en-US" dirty="0"/>
          </a:p>
          <a:p>
            <a:endParaRPr lang="en-US" dirty="0"/>
          </a:p>
          <a:p>
            <a:endParaRPr lang="en-US" b="0" dirty="0"/>
          </a:p>
          <a:p>
            <a:endParaRPr lang="en-US" b="0" dirty="0"/>
          </a:p>
          <a:p>
            <a:endParaRPr lang="en-US" b="1"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Slide Number Placeholder 8"/>
          <p:cNvSpPr>
            <a:spLocks noGrp="1"/>
          </p:cNvSpPr>
          <p:nvPr>
            <p:ph type="sldNum" sz="quarter" idx="10"/>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8418477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882" b="1" i="0" kern="1200" baseline="0" dirty="0">
                <a:solidFill>
                  <a:schemeClr val="tx1"/>
                </a:solidFill>
                <a:effectLst/>
                <a:latin typeface="+mn-lt"/>
                <a:ea typeface="+mn-ea"/>
                <a:cs typeface="+mn-cs"/>
              </a:rPr>
              <a:t>Overview</a:t>
            </a:r>
          </a:p>
          <a:p>
            <a:r>
              <a:rPr lang="en-US" sz="882" b="0" i="0" kern="1200" baseline="0" dirty="0">
                <a:solidFill>
                  <a:schemeClr val="tx1"/>
                </a:solidFill>
                <a:effectLst/>
                <a:latin typeface="+mn-lt"/>
                <a:ea typeface="+mn-ea"/>
                <a:cs typeface="+mn-cs"/>
              </a:rPr>
              <a:t>For performance reasons, the Database Engine performs modifications to database pages in memory-in the buffer cache-and does not write these pages to disk after every change. Rather, the Database Engine periodically issues a checkpoint on each database. A </a:t>
            </a:r>
            <a:r>
              <a:rPr lang="en-US" sz="882" b="0" i="1" kern="1200" baseline="0" dirty="0">
                <a:solidFill>
                  <a:schemeClr val="tx1"/>
                </a:solidFill>
                <a:effectLst/>
                <a:latin typeface="+mn-lt"/>
                <a:ea typeface="+mn-ea"/>
                <a:cs typeface="+mn-cs"/>
              </a:rPr>
              <a:t>checkpoint</a:t>
            </a:r>
            <a:r>
              <a:rPr lang="en-US" sz="882" b="0" i="0" kern="1200" baseline="0" dirty="0">
                <a:solidFill>
                  <a:schemeClr val="tx1"/>
                </a:solidFill>
                <a:effectLst/>
                <a:latin typeface="+mn-lt"/>
                <a:ea typeface="+mn-ea"/>
                <a:cs typeface="+mn-cs"/>
              </a:rPr>
              <a:t> writes the current in-memory modified pages (known as </a:t>
            </a:r>
            <a:r>
              <a:rPr lang="en-US" sz="882" b="0" i="1" kern="1200" baseline="0" dirty="0">
                <a:solidFill>
                  <a:schemeClr val="tx1"/>
                </a:solidFill>
                <a:effectLst/>
                <a:latin typeface="+mn-lt"/>
                <a:ea typeface="+mn-ea"/>
                <a:cs typeface="+mn-cs"/>
              </a:rPr>
              <a:t>dirty pages</a:t>
            </a:r>
            <a:r>
              <a:rPr lang="en-US" sz="882" b="0" i="0" kern="1200" baseline="0" dirty="0">
                <a:solidFill>
                  <a:schemeClr val="tx1"/>
                </a:solidFill>
                <a:effectLst/>
                <a:latin typeface="+mn-lt"/>
                <a:ea typeface="+mn-ea"/>
                <a:cs typeface="+mn-cs"/>
              </a:rPr>
              <a:t>) and transaction log information from memory to disk and, also records the information in the transaction log.</a:t>
            </a:r>
          </a:p>
          <a:p>
            <a:r>
              <a:rPr lang="en-US" sz="882" b="0" i="0" kern="1200" baseline="0" dirty="0">
                <a:solidFill>
                  <a:schemeClr val="tx1"/>
                </a:solidFill>
                <a:effectLst/>
                <a:latin typeface="+mn-lt"/>
                <a:ea typeface="+mn-ea"/>
                <a:cs typeface="+mn-cs"/>
              </a:rPr>
              <a:t>The Database Engine supports several types of checkpoints: automatic, indirect, manual, and internal. </a:t>
            </a:r>
          </a:p>
          <a:p>
            <a:endParaRPr lang="en-US" dirty="0"/>
          </a:p>
          <a:p>
            <a:pPr rtl="0"/>
            <a:r>
              <a:rPr lang="en-US" sz="882" b="1" i="0" kern="1200" baseline="0" dirty="0">
                <a:solidFill>
                  <a:schemeClr val="tx1"/>
                </a:solidFill>
                <a:effectLst/>
                <a:latin typeface="+mn-lt"/>
                <a:ea typeface="+mn-ea"/>
                <a:cs typeface="+mn-cs"/>
              </a:rPr>
              <a:t>Note</a:t>
            </a:r>
          </a:p>
          <a:p>
            <a:r>
              <a:rPr lang="en-US" sz="882" b="0" i="0" kern="1200" baseline="0" dirty="0">
                <a:solidFill>
                  <a:schemeClr val="tx1"/>
                </a:solidFill>
                <a:effectLst/>
                <a:latin typeface="+mn-lt"/>
                <a:ea typeface="+mn-ea"/>
                <a:cs typeface="+mn-cs"/>
              </a:rPr>
              <a:t>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QL Server advanced setup option enables a database administrator to throttle checkpoint I/O behavior based on the throughput of the I/O subsystem for some types of checkpoints. 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etup option applies to automatic checkpoints and any otherwise unthrottled manual and internal checkpoints.</a:t>
            </a:r>
          </a:p>
          <a:p>
            <a:r>
              <a:rPr lang="en-US" sz="882" b="0" i="0" kern="1200" baseline="0" dirty="0">
                <a:solidFill>
                  <a:schemeClr val="tx1"/>
                </a:solidFill>
                <a:effectLst/>
                <a:latin typeface="+mn-lt"/>
                <a:ea typeface="+mn-ea"/>
                <a:cs typeface="+mn-cs"/>
              </a:rPr>
              <a:t>For automatic, manual, and internal checkpoints, only modifications made after the latest checkpoint need to be rolled forward during database recovery. This reduces the time required to recover a database.</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mportant</a:t>
            </a:r>
          </a:p>
          <a:p>
            <a:r>
              <a:rPr lang="en-US" sz="882" b="0" i="0" kern="1200" baseline="0" dirty="0">
                <a:solidFill>
                  <a:schemeClr val="tx1"/>
                </a:solidFill>
                <a:effectLst/>
                <a:latin typeface="+mn-lt"/>
                <a:ea typeface="+mn-ea"/>
                <a:cs typeface="+mn-cs"/>
              </a:rPr>
              <a:t>Long-running, uncommitted transactions increase recovery time for all checkpoint types.</a:t>
            </a:r>
          </a:p>
          <a:p>
            <a:endParaRPr lang="en-US" dirty="0"/>
          </a:p>
          <a:p>
            <a:r>
              <a:rPr lang="en-US" b="1" dirty="0"/>
              <a:t>Key Points</a:t>
            </a:r>
            <a:r>
              <a:rPr lang="en-US" dirty="0"/>
              <a:t>:</a:t>
            </a:r>
          </a:p>
          <a:p>
            <a:pPr>
              <a:spcAft>
                <a:spcPts val="600"/>
              </a:spcAft>
            </a:pPr>
            <a:r>
              <a:rPr lang="en-US" dirty="0"/>
              <a:t>Checkpoints are used by the database engine to minimize the time to recover databases in the event of a server crash or restart. Data page changes are buffered in memory to minimize disk I/O and maximize performance. If the server crashes, any changes made in-memory that have not yet been written to the data file will be lost. Upon restart, SQL Server will need to recover these changes by reading the transaction log file – rolling forward any changes that were committed at the time of the crash and rolling back any changes that were not committed at the time of the crash. This process is called “recovery.”</a:t>
            </a:r>
          </a:p>
          <a:p>
            <a:pPr>
              <a:spcAft>
                <a:spcPts val="600"/>
              </a:spcAft>
            </a:pPr>
            <a:r>
              <a:rPr lang="en-US" dirty="0"/>
              <a:t>The “</a:t>
            </a:r>
            <a:r>
              <a:rPr lang="en-US" b="1" dirty="0"/>
              <a:t>recovery interval</a:t>
            </a:r>
            <a:r>
              <a:rPr lang="en-US" dirty="0"/>
              <a:t>” server option allows you to control the estimated time it will take to recover databases on the server upon restart. The default setting is 0, which allows SQL Server to control the interval (</a:t>
            </a:r>
            <a:r>
              <a:rPr lang="en-US" b="1" dirty="0"/>
              <a:t>typically resulting in checkpoints about every 1 minute and &lt; 1 minute recovery</a:t>
            </a:r>
            <a:r>
              <a:rPr lang="en-US" dirty="0"/>
              <a:t>). The longer the recovery interval, the less frequent the checkpoints will be, resulting in less disk I/O on the server. The tradeoff is longer recovery time, thus longer downtime in the event of an unexpected restart. It is recommended to leave the recovery interval at the default, but if there are very frequent changes in a database, particularly changes that always affect the same page in memory, it may be beneficial to increase the interval.</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Database Checkpoints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logs/database-checkpoints-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Configure the recovery interval Server Configuration Op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database-engine/configure-windows/configure-the-recovery-interval-server-configuration-option?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Change the Target Recovery Time of a Database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logs/change-the-target-recovery-time-of-a-database-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1816708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ET STATISTICS IO (Transact-SQL) - SQL Server | Microsoft Docs</a:t>
            </a:r>
            <a:endParaRPr lang="en-US" dirty="0"/>
          </a:p>
          <a:p>
            <a:r>
              <a:rPr lang="en-US" b="0" i="0" dirty="0">
                <a:solidFill>
                  <a:srgbClr val="E3E3E3"/>
                </a:solidFill>
                <a:effectLst/>
                <a:latin typeface="Segoe UI" panose="020B0502040204020203" pitchFamily="34" charset="0"/>
              </a:rPr>
              <a:t>Causes SQL Server to display information about the amount of disk activity generated by Transact-SQL statements.</a:t>
            </a:r>
            <a:endParaRPr lang="en-US" dirty="0"/>
          </a:p>
          <a:p>
            <a:endParaRPr lang="en-US" dirty="0"/>
          </a:p>
          <a:p>
            <a:endParaRPr lang="en-US" dirty="0"/>
          </a:p>
          <a:p>
            <a:r>
              <a:rPr lang="en-US" dirty="0">
                <a:hlinkClick r:id="rId4"/>
              </a:rPr>
              <a:t>SET STATISTICS TIME (Transact-SQL) - SQL Server | Microsoft Docs</a:t>
            </a:r>
            <a:endParaRPr lang="en-US" dirty="0"/>
          </a:p>
          <a:p>
            <a:r>
              <a:rPr lang="en-US" b="0" i="0" dirty="0">
                <a:solidFill>
                  <a:srgbClr val="E3E3E3"/>
                </a:solidFill>
                <a:effectLst/>
                <a:latin typeface="Segoe UI" panose="020B0502040204020203" pitchFamily="34" charset="0"/>
              </a:rPr>
              <a:t>Displays the number of milliseconds required to parse, compile, and execute each statement.</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3322406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6819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71430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3_Database_Structure\Display_Statiistics.sql</a:t>
            </a:r>
            <a:endParaRPr lang="en-US" altLang="ja-JP" sz="900" dirty="0">
              <a:solidFill>
                <a:schemeClr val="tx1"/>
              </a:solidFill>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682546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LATCH_xx</a:t>
            </a:r>
            <a:r>
              <a:rPr lang="en-US" dirty="0"/>
              <a:t> = Indicates contention for access to some non-page structures. ACCESS_METHODS_DATASET_PARENT, ACCESS_METHODS_SCAN_RANGE_GENERATOR or NESTING_TRANSACTION_FULL latches indicate parallelism issues;</a:t>
            </a:r>
          </a:p>
          <a:p>
            <a:r>
              <a:rPr lang="en-US" dirty="0"/>
              <a:t>We will talk more about Latching in Module 6.</a:t>
            </a:r>
          </a:p>
          <a:p>
            <a:endParaRPr lang="en-US" dirty="0"/>
          </a:p>
          <a:p>
            <a:r>
              <a:rPr lang="en-US" b="1" dirty="0" err="1"/>
              <a:t>PAGELATCH_xx</a:t>
            </a:r>
            <a:r>
              <a:rPr lang="en-US" dirty="0"/>
              <a:t> = Indicates contention for access to Buffers (in-memory copies of pages) such as PFS, SGAM, and GAM. </a:t>
            </a:r>
          </a:p>
          <a:p>
            <a:r>
              <a:rPr lang="en-US" dirty="0"/>
              <a:t>PAGELATCH_UP = Does the filegroup have enough files? Contention in PFS?</a:t>
            </a:r>
          </a:p>
          <a:p>
            <a:r>
              <a:rPr lang="en-US" dirty="0"/>
              <a:t>PAGELATCH_EX = Contention while doing many UPDATE statements against small tables? Many concurrent INSERT statements into a table that has an index on an IDENTITY or NEWSEQUENTIALID column?</a:t>
            </a:r>
          </a:p>
          <a:p>
            <a:endParaRPr lang="en-US" dirty="0"/>
          </a:p>
          <a:p>
            <a:pPr>
              <a:defRPr/>
            </a:pPr>
            <a:r>
              <a:rPr lang="en-US" b="1" dirty="0" err="1"/>
              <a:t>PAGEIOLATCH_xx</a:t>
            </a:r>
            <a:r>
              <a:rPr lang="en-US" dirty="0"/>
              <a:t> = Indicates I/O problems. Validate disk and memory </a:t>
            </a:r>
            <a:r>
              <a:rPr lang="en-US" dirty="0" err="1"/>
              <a:t>perfmon</a:t>
            </a:r>
            <a:r>
              <a:rPr lang="en-US" dirty="0"/>
              <a:t> counters, virtual file stats DMV, and the SQL </a:t>
            </a:r>
            <a:r>
              <a:rPr lang="en-US" dirty="0" err="1"/>
              <a:t>Errorlogs</a:t>
            </a:r>
            <a:r>
              <a:rPr lang="en-US" dirty="0"/>
              <a:t> (for error 833 “I/O taking longer than 15 seconds”).</a:t>
            </a:r>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ular Callout 8"/>
          <p:cNvSpPr/>
          <p:nvPr/>
        </p:nvSpPr>
        <p:spPr>
          <a:xfrm>
            <a:off x="457200" y="2796363"/>
            <a:ext cx="2241235" cy="1318437"/>
          </a:xfrm>
          <a:prstGeom prst="wedgeRectCallout">
            <a:avLst>
              <a:gd name="adj1" fmla="val -11420"/>
              <a:gd name="adj2" fmla="val 7352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sider replacing all the “=“ symbols with a colon :</a:t>
            </a:r>
          </a:p>
        </p:txBody>
      </p:sp>
      <p:sp>
        <p:nvSpPr>
          <p:cNvPr id="10" name="Rectangular Callout 9"/>
          <p:cNvSpPr/>
          <p:nvPr/>
        </p:nvSpPr>
        <p:spPr>
          <a:xfrm>
            <a:off x="6019800" y="3429000"/>
            <a:ext cx="2241235" cy="1318437"/>
          </a:xfrm>
          <a:prstGeom prst="wedgeRectCallout">
            <a:avLst>
              <a:gd name="adj1" fmla="val -66385"/>
              <a:gd name="adj2" fmla="val 74005"/>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fine PFS, GAM and SGAM at the first instance</a:t>
            </a:r>
          </a:p>
        </p:txBody>
      </p:sp>
    </p:spTree>
    <p:extLst>
      <p:ext uri="{BB962C8B-B14F-4D97-AF65-F5344CB8AC3E}">
        <p14:creationId xmlns:p14="http://schemas.microsoft.com/office/powerpoint/2010/main" val="30926100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0409E-BC0B-99AC-F3E1-BF494FFC6C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E52544-BEAC-8EBE-2957-AFD8F9E572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EE6816-3DE6-0AF2-1F1D-C93D63D1B8D4}"/>
              </a:ext>
            </a:extLst>
          </p:cNvPr>
          <p:cNvSpPr>
            <a:spLocks noGrp="1"/>
          </p:cNvSpPr>
          <p:nvPr>
            <p:ph type="body" idx="1"/>
          </p:nvPr>
        </p:nvSpPr>
        <p:spPr/>
        <p:txBody>
          <a:bodyPr/>
          <a:lstStyle/>
          <a:p>
            <a:r>
              <a:rPr lang="en-US" sz="800" b="1" dirty="0">
                <a:latin typeface="Segoe UI" panose="020B0502040204020203" pitchFamily="34" charset="0"/>
                <a:cs typeface="Segoe UI" panose="020B0502040204020203" pitchFamily="34" charset="0"/>
              </a:rPr>
              <a:t>Disk Transfers/sec</a:t>
            </a:r>
            <a:r>
              <a:rPr lang="en-US" sz="800" dirty="0">
                <a:latin typeface="Segoe UI" panose="020B0502040204020203" pitchFamily="34" charset="0"/>
                <a:cs typeface="Segoe UI" panose="020B0502040204020203" pitchFamily="34" charset="0"/>
              </a:rPr>
              <a:t>: It is the rate of read and write operations on the disk and is the number of IO operations per second (IOPS) according to the operating system. If hardware </a:t>
            </a:r>
            <a:r>
              <a:rPr lang="en-US" sz="800" dirty="0">
                <a:solidFill>
                  <a:srgbClr val="FF0000"/>
                </a:solidFill>
                <a:latin typeface="Segoe UI" panose="020B0502040204020203" pitchFamily="34" charset="0"/>
                <a:cs typeface="Segoe UI" panose="020B0502040204020203" pitchFamily="34" charset="0"/>
              </a:rPr>
              <a:t>redundant array of inexpensive disks (RAID)</a:t>
            </a:r>
            <a:r>
              <a:rPr lang="en-US" sz="800" dirty="0">
                <a:latin typeface="Segoe UI" panose="020B0502040204020203" pitchFamily="34" charset="0"/>
                <a:cs typeface="Segoe UI" panose="020B0502040204020203" pitchFamily="34" charset="0"/>
              </a:rPr>
              <a:t> is used, then keep in mind that the hardware IOPS will be different. For example, hardware RAID1 (mirror set) will have hardware IOPS of (1 x Read) + (2 x Write).</a:t>
            </a:r>
          </a:p>
          <a:p>
            <a:endParaRPr lang="en-US" sz="800" dirty="0">
              <a:latin typeface="Segoe UI" panose="020B0502040204020203" pitchFamily="34" charset="0"/>
              <a:cs typeface="Segoe UI" panose="020B0502040204020203" pitchFamily="34" charset="0"/>
            </a:endParaRPr>
          </a:p>
          <a:p>
            <a:r>
              <a:rPr lang="en-US" sz="882" kern="1200" baseline="0" dirty="0">
                <a:solidFill>
                  <a:schemeClr val="tx1"/>
                </a:solidFill>
                <a:effectLst/>
                <a:latin typeface="+mn-lt"/>
                <a:ea typeface="+mn-ea"/>
                <a:cs typeface="+mn-cs"/>
              </a:rPr>
              <a:t>Troubleshooting Slow Disk I/O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archive/blogs/askjay/troubleshooting-slow-disk-io-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Measuring Disk Latency with Windows Performance Monitor (Perfm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archive/blogs/askcore/measuring-disk-latency-with-windows-performance-monitor-perfmon</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00" dirty="0">
              <a:latin typeface="Segoe UI" panose="020B0502040204020203" pitchFamily="34" charset="0"/>
              <a:cs typeface="Segoe UI" panose="020B0502040204020203" pitchFamily="34" charset="0"/>
            </a:endParaRPr>
          </a:p>
          <a:p>
            <a:endParaRPr lang="en-US" sz="800" dirty="0">
              <a:latin typeface="Segoe UI" panose="020B0502040204020203" pitchFamily="34" charset="0"/>
              <a:cs typeface="Segoe UI" panose="020B0502040204020203" pitchFamily="34" charset="0"/>
            </a:endParaRPr>
          </a:p>
          <a:p>
            <a:endParaRPr lang="en-US" sz="800" dirty="0">
              <a:latin typeface="Segoe UI" panose="020B0502040204020203" pitchFamily="34" charset="0"/>
              <a:cs typeface="Segoe UI" panose="020B0502040204020203" pitchFamily="34" charset="0"/>
            </a:endParaRPr>
          </a:p>
          <a:p>
            <a:r>
              <a:rPr lang="en-US" sz="882" b="1" i="0" kern="1200" baseline="0" dirty="0">
                <a:solidFill>
                  <a:schemeClr val="tx1"/>
                </a:solidFill>
                <a:effectLst/>
                <a:latin typeface="+mn-lt"/>
                <a:ea typeface="+mn-ea"/>
                <a:cs typeface="+mn-cs"/>
              </a:rPr>
              <a:t>Disk Transfers/sec (Disk Reads/sec, Disk Writes/sec)</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Perfmon captures the total number of individual disk IO requests </a:t>
            </a:r>
            <a:r>
              <a:rPr lang="en-US" sz="882" b="1" i="0" kern="1200" baseline="0" dirty="0">
                <a:solidFill>
                  <a:schemeClr val="tx1"/>
                </a:solidFill>
                <a:effectLst/>
                <a:latin typeface="+mn-lt"/>
                <a:ea typeface="+mn-ea"/>
                <a:cs typeface="+mn-cs"/>
              </a:rPr>
              <a:t>completed</a:t>
            </a:r>
            <a:r>
              <a:rPr lang="en-US" sz="882" b="0" i="0" kern="1200" baseline="0" dirty="0">
                <a:solidFill>
                  <a:schemeClr val="tx1"/>
                </a:solidFill>
                <a:effectLst/>
                <a:latin typeface="+mn-lt"/>
                <a:ea typeface="+mn-ea"/>
                <a:cs typeface="+mn-cs"/>
              </a:rPr>
              <a:t> over a period of one second. If the Perfmon capture interval is set for anything greater than one second, the average of the values captured is presented.</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Disk Reads/sec and Disk Writes/sec are calculated in the same way, but break down the results in read requests only or write requests only, respectively.</a:t>
            </a:r>
          </a:p>
          <a:p>
            <a:r>
              <a:rPr lang="en-US" sz="882" b="1" i="0" kern="1200" baseline="0" dirty="0">
                <a:solidFill>
                  <a:schemeClr val="tx1"/>
                </a:solidFill>
                <a:effectLst/>
                <a:latin typeface="+mn-lt"/>
                <a:ea typeface="+mn-ea"/>
                <a:cs typeface="+mn-cs"/>
              </a:rPr>
              <a:t>Disk Bytes/sec (Disk Read Bytes/sec, Disk Write Bytes/sec)</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Perfmon captures the total number of bytes sent to the disk (write) and retrieved from the disk (read) over a period of one second. If the Perfmon capture interval is set for anything greater than one second, the average of the values captured is presented.</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e Disk Read Bytes/sec and the Disk Write Bytes/sec counters break down the results displaying only read bytes or only write bytes, respectively.</a:t>
            </a:r>
          </a:p>
          <a:p>
            <a:r>
              <a:rPr lang="en-US" sz="882" b="1" i="0" kern="1200" baseline="0" dirty="0">
                <a:solidFill>
                  <a:schemeClr val="tx1"/>
                </a:solidFill>
                <a:effectLst/>
                <a:latin typeface="+mn-lt"/>
                <a:ea typeface="+mn-ea"/>
                <a:cs typeface="+mn-cs"/>
              </a:rPr>
              <a:t>Avg. Disk Bytes/Transfer (Avg. Disk Bytes/Read, Avg. Disk Bytes/Writ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Displays the average size of the individual disk requests (IO size) in bytes, for the capture interval. Example: If the system had ninety nine IO requests of 8K and one IO request of 2048K, the average will be 28.4K. Calculation = (8k*99) + (1*2048k) / 100</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e Avg. Disk Bytes/Read and Avg. Disk Bytes/Write counters break down the results showing the average size for only read requests or only write requests, respectively.</a:t>
            </a:r>
          </a:p>
          <a:p>
            <a:r>
              <a:rPr lang="en-US" sz="882" b="1" i="0" kern="1200" baseline="0" dirty="0">
                <a:solidFill>
                  <a:schemeClr val="tx1"/>
                </a:solidFill>
                <a:effectLst/>
                <a:latin typeface="+mn-lt"/>
                <a:ea typeface="+mn-ea"/>
                <a:cs typeface="+mn-cs"/>
              </a:rPr>
              <a:t>Avg. Disk sec/Transfer (Avg. Disk sec/Read, Avg. Disk sec/Writ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Displays the average time the disk transfers took to complete, in seconds. Although the scale is seconds, the counter has millisecond precision, meaning a value of 0.004 indicates the average time for disk transfers to complete was 4 milliseconds.</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is is the counter in Perfmon used to measure IO latency.</a:t>
            </a:r>
          </a:p>
          <a:p>
            <a:r>
              <a:rPr lang="en-US" sz="882" kern="1200" baseline="0" dirty="0">
                <a:solidFill>
                  <a:schemeClr val="tx1"/>
                </a:solidFill>
                <a:effectLst/>
                <a:latin typeface="+mn-lt"/>
                <a:ea typeface="+mn-ea"/>
                <a:cs typeface="+mn-cs"/>
              </a:rPr>
              <a:t>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Windows Performance Monitor Disk Counters Explained</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archive/blogs/askcore/windows-performance-monitor-disk-counters-explained</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Slow I/O - SQL Server and disk I/O performanc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6"/>
              </a:rPr>
              <a:t>https://techcommunity.microsoft.com/t5/sql-server-support/slow-i-o-sql-server-and-disk-i-o-performance/ba-p/333983</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endParaRPr lang="en-US" sz="8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a:extLst>
              <a:ext uri="{FF2B5EF4-FFF2-40B4-BE49-F238E27FC236}">
                <a16:creationId xmlns:a16="http://schemas.microsoft.com/office/drawing/2014/main" id="{E8F0B4E7-A815-A66A-4639-9757651B0C95}"/>
              </a:ext>
            </a:extLst>
          </p:cNvPr>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5BA90B1A-479B-D4FA-A939-99626D814B4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470350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E915C6-86D0-03D4-F947-E809D321E75A}"/>
            </a:ext>
          </a:extLst>
        </p:cNvPr>
        <p:cNvGrpSpPr/>
        <p:nvPr/>
      </p:nvGrpSpPr>
      <p:grpSpPr>
        <a:xfrm>
          <a:off x="0" y="0"/>
          <a:ext cx="0" cy="0"/>
          <a:chOff x="0" y="0"/>
          <a:chExt cx="0" cy="0"/>
        </a:xfrm>
      </p:grpSpPr>
      <p:sp>
        <p:nvSpPr>
          <p:cNvPr id="3" name="Notes Placeholder 2">
            <a:extLst>
              <a:ext uri="{FF2B5EF4-FFF2-40B4-BE49-F238E27FC236}">
                <a16:creationId xmlns:a16="http://schemas.microsoft.com/office/drawing/2014/main" id="{6403D1DE-7AFB-BCEE-342E-F467BB337363}"/>
              </a:ext>
            </a:extLst>
          </p:cNvPr>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The files for this Lab are located at E:\Labfiles\</a:t>
            </a:r>
            <a:r>
              <a:rPr lang="en-US" b="1" dirty="0"/>
              <a:t>M03L03Lab01</a:t>
            </a:r>
          </a:p>
        </p:txBody>
      </p:sp>
      <p:sp>
        <p:nvSpPr>
          <p:cNvPr id="4" name="Slide Number Placeholder 3">
            <a:extLst>
              <a:ext uri="{FF2B5EF4-FFF2-40B4-BE49-F238E27FC236}">
                <a16:creationId xmlns:a16="http://schemas.microsoft.com/office/drawing/2014/main" id="{6770D17C-E083-F811-1002-881B6222B7E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a:extLst>
              <a:ext uri="{FF2B5EF4-FFF2-40B4-BE49-F238E27FC236}">
                <a16:creationId xmlns:a16="http://schemas.microsoft.com/office/drawing/2014/main" id="{759B39E1-1FF3-51FD-BCCD-92A03B66E65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370DBA6F-0B13-7F61-76E9-1FDF453B131F}"/>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403610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313604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t>Q1) What tool should is used to measure disk latency? </a:t>
            </a:r>
          </a:p>
          <a:p>
            <a:pPr lvl="0"/>
            <a:r>
              <a:rPr lang="en-US" sz="900" dirty="0"/>
              <a:t>A1) Perfmon to monitor the following perf counters</a:t>
            </a:r>
          </a:p>
          <a:p>
            <a:pPr lvl="1"/>
            <a:r>
              <a:rPr lang="fr-FR" dirty="0"/>
              <a:t>Avg. Disk Bytes/Transfer</a:t>
            </a:r>
          </a:p>
          <a:p>
            <a:pPr lvl="1"/>
            <a:r>
              <a:rPr lang="fr-FR" dirty="0"/>
              <a:t>Avg. Disk sec/Read</a:t>
            </a:r>
          </a:p>
          <a:p>
            <a:pPr lvl="1"/>
            <a:r>
              <a:rPr lang="fr-FR" dirty="0"/>
              <a:t>Avg. Disk sec/Write</a:t>
            </a:r>
            <a:endParaRPr lang="en-US" sz="900" dirty="0"/>
          </a:p>
          <a:p>
            <a:pPr lvl="0"/>
            <a:endParaRPr lang="en-US" sz="90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Q2) What DMV/DMF is used to identify pending IO reques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A2) SQL Server DMV </a:t>
            </a:r>
            <a:r>
              <a:rPr lang="it-IT" sz="900" dirty="0"/>
              <a:t>sys.dm_io_pending_io_requests</a:t>
            </a:r>
            <a:endParaRPr lang="en-US" sz="900" dirty="0">
              <a:solidFill>
                <a:srgbClr val="000000"/>
              </a:solidFill>
            </a:endParaRPr>
          </a:p>
          <a:p>
            <a:pPr lvl="0"/>
            <a:endParaRPr lang="en-US" sz="900" dirty="0"/>
          </a:p>
          <a:p>
            <a:pPr lvl="0"/>
            <a:r>
              <a:rPr lang="en-US" sz="900" dirty="0"/>
              <a:t>What are the notable wait types for disk I/O?</a:t>
            </a:r>
          </a:p>
          <a:p>
            <a:pPr lvl="1"/>
            <a:r>
              <a:rPr lang="en-US" sz="2400" b="0" baseline="0" dirty="0"/>
              <a:t>ASYNC_IO_COMPLETION</a:t>
            </a:r>
            <a:endParaRPr lang="en-US" sz="2400" b="0" dirty="0"/>
          </a:p>
          <a:p>
            <a:pPr lvl="1"/>
            <a:r>
              <a:rPr lang="en-US" sz="2400" b="0" baseline="0" dirty="0"/>
              <a:t>IO_COMPLETION</a:t>
            </a:r>
            <a:endParaRPr lang="en-US" sz="2400" b="0" dirty="0"/>
          </a:p>
          <a:p>
            <a:pPr lvl="1"/>
            <a:r>
              <a:rPr lang="en-US" sz="2400" b="0" baseline="0" dirty="0"/>
              <a:t>LOGMGR</a:t>
            </a:r>
            <a:endParaRPr lang="en-US" sz="2400" b="0" dirty="0"/>
          </a:p>
          <a:p>
            <a:pPr lvl="1"/>
            <a:r>
              <a:rPr lang="en-US" sz="2400" b="0" baseline="0" dirty="0"/>
              <a:t>WRITELOG</a:t>
            </a:r>
            <a:endParaRPr lang="en-US" sz="2400" b="0" dirty="0"/>
          </a:p>
          <a:p>
            <a:pPr lvl="1"/>
            <a:r>
              <a:rPr lang="en-US" dirty="0"/>
              <a:t>PAGEIOLATCH</a:t>
            </a:r>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101307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Extents</a:t>
            </a:r>
          </a:p>
          <a:p>
            <a:r>
              <a:rPr lang="en-US" sz="882" b="0" i="0" kern="1200" baseline="0" dirty="0">
                <a:solidFill>
                  <a:schemeClr val="tx1"/>
                </a:solidFill>
                <a:effectLst/>
                <a:latin typeface="+mn-lt"/>
                <a:ea typeface="+mn-ea"/>
                <a:cs typeface="+mn-cs"/>
              </a:rPr>
              <a:t>Extents are the basic unit in which space is managed. An extent is eight physically contiguous pages, or 64 KB. This means SQL Server databases have 16 extents per megabyte.</a:t>
            </a:r>
          </a:p>
          <a:p>
            <a:r>
              <a:rPr lang="en-US" sz="882" b="0" i="0" kern="1200" baseline="0" dirty="0">
                <a:solidFill>
                  <a:schemeClr val="tx1"/>
                </a:solidFill>
                <a:effectLst/>
                <a:latin typeface="+mn-lt"/>
                <a:ea typeface="+mn-ea"/>
                <a:cs typeface="+mn-cs"/>
              </a:rPr>
              <a:t>SQL Server has two types of extents:</a:t>
            </a:r>
          </a:p>
          <a:p>
            <a:endParaRPr lang="en-US" sz="882" b="0" i="0" kern="1200" baseline="0" dirty="0">
              <a:solidFill>
                <a:schemeClr val="tx1"/>
              </a:solidFill>
              <a:effectLst/>
              <a:latin typeface="+mn-lt"/>
              <a:ea typeface="+mn-ea"/>
              <a:cs typeface="+mn-cs"/>
            </a:endParaRPr>
          </a:p>
          <a:p>
            <a:pPr lvl="1"/>
            <a:r>
              <a:rPr lang="en-US" sz="882" b="1" i="0" kern="1200" baseline="0" dirty="0">
                <a:solidFill>
                  <a:schemeClr val="tx1"/>
                </a:solidFill>
                <a:effectLst/>
                <a:latin typeface="+mn-lt"/>
                <a:ea typeface="+mn-ea"/>
                <a:cs typeface="+mn-cs"/>
              </a:rPr>
              <a:t>Uniform</a:t>
            </a:r>
            <a:r>
              <a:rPr lang="en-US" sz="882" b="0" i="0" kern="1200" baseline="0" dirty="0">
                <a:solidFill>
                  <a:schemeClr val="tx1"/>
                </a:solidFill>
                <a:effectLst/>
                <a:latin typeface="+mn-lt"/>
                <a:ea typeface="+mn-ea"/>
                <a:cs typeface="+mn-cs"/>
              </a:rPr>
              <a:t> extents are owned by a single object; all eight pages in the extent can only be used by the owning object.</a:t>
            </a:r>
          </a:p>
          <a:p>
            <a:pPr lvl="1"/>
            <a:r>
              <a:rPr lang="en-US" sz="882" b="1" i="0" kern="1200" baseline="0" dirty="0">
                <a:solidFill>
                  <a:schemeClr val="tx1"/>
                </a:solidFill>
                <a:effectLst/>
                <a:latin typeface="+mn-lt"/>
                <a:ea typeface="+mn-ea"/>
                <a:cs typeface="+mn-cs"/>
              </a:rPr>
              <a:t>Mixed</a:t>
            </a:r>
            <a:r>
              <a:rPr lang="en-US" sz="882" b="0" i="0" kern="1200" baseline="0" dirty="0">
                <a:solidFill>
                  <a:schemeClr val="tx1"/>
                </a:solidFill>
                <a:effectLst/>
                <a:latin typeface="+mn-lt"/>
                <a:ea typeface="+mn-ea"/>
                <a:cs typeface="+mn-cs"/>
              </a:rPr>
              <a:t> extents are shared by up to eight objects. Each of the eight pages in the extent can be owned by a different object.</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dirty="0"/>
          </a:p>
        </p:txBody>
      </p:sp>
    </p:spTree>
    <p:extLst>
      <p:ext uri="{BB962C8B-B14F-4D97-AF65-F5344CB8AC3E}">
        <p14:creationId xmlns:p14="http://schemas.microsoft.com/office/powerpoint/2010/main" val="34802020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PFS and IAM are used to determine when an object needs a new extent allocated</a:t>
            </a:r>
          </a:p>
          <a:p>
            <a:r>
              <a:rPr lang="en-US" sz="900" kern="1200" dirty="0">
                <a:solidFill>
                  <a:schemeClr val="tx1"/>
                </a:solidFill>
                <a:effectLst/>
                <a:latin typeface="Segoe UI Light" pitchFamily="34" charset="0"/>
                <a:ea typeface="+mn-ea"/>
                <a:cs typeface="+mn-cs"/>
              </a:rPr>
              <a:t>When SQL Server needs to insert a new row, but there is no space available in the current page, SQL Server uses the IAM and PFS pages to find a page with enough space to hold the row. First, SQL Server uses the IAM pages to find the extents allocated to the object. Then, for each extent, SQL Server searches the PFS pages to see if there is a page with enough free space to hold the row. Each IAM and PFS page covers a large number of data pages, which are generally stored in the memory in the SQL Server buffer pool. This means that these pages can be searched quickly.</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allocates a new extent to an object only when it cannot quickly find a page in an existing extent with enough space to hold the row that is being inserted. It allocates extents from those available in the filegroup by using a proportional fill algorithm (files are used in proportion to their free space). Every file in a filegroup should have a similar percentage of space use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aps have one row in </a:t>
            </a:r>
            <a:r>
              <a:rPr lang="en-US" sz="900" b="1" kern="1200" dirty="0" err="1">
                <a:solidFill>
                  <a:schemeClr val="tx1"/>
                </a:solidFill>
                <a:effectLst/>
                <a:latin typeface="Segoe UI Light" pitchFamily="34" charset="0"/>
                <a:ea typeface="+mn-ea"/>
                <a:cs typeface="+mn-cs"/>
              </a:rPr>
              <a:t>sys.partitions</a:t>
            </a:r>
            <a:r>
              <a:rPr lang="en-US" sz="900" kern="1200" dirty="0">
                <a:solidFill>
                  <a:schemeClr val="tx1"/>
                </a:solidFill>
                <a:effectLst/>
                <a:latin typeface="Segoe UI Light" pitchFamily="34" charset="0"/>
                <a:ea typeface="+mn-ea"/>
                <a:cs typeface="+mn-cs"/>
              </a:rPr>
              <a:t> with </a:t>
            </a:r>
            <a:r>
              <a:rPr lang="en-US" sz="900" b="1" kern="1200" dirty="0" err="1">
                <a:solidFill>
                  <a:schemeClr val="tx1"/>
                </a:solidFill>
                <a:effectLst/>
                <a:latin typeface="Segoe UI Light" pitchFamily="34" charset="0"/>
                <a:ea typeface="+mn-ea"/>
                <a:cs typeface="+mn-cs"/>
              </a:rPr>
              <a:t>index_id</a:t>
            </a:r>
            <a:r>
              <a:rPr lang="en-US" sz="900" kern="1200" dirty="0">
                <a:solidFill>
                  <a:schemeClr val="tx1"/>
                </a:solidFill>
                <a:effectLst/>
                <a:latin typeface="Segoe UI Light" pitchFamily="34" charset="0"/>
                <a:ea typeface="+mn-ea"/>
                <a:cs typeface="+mn-cs"/>
              </a:rPr>
              <a:t> = 0. The </a:t>
            </a:r>
            <a:r>
              <a:rPr lang="en-US" sz="900" b="1" kern="1200" dirty="0" err="1">
                <a:solidFill>
                  <a:schemeClr val="tx1"/>
                </a:solidFill>
                <a:effectLst/>
                <a:latin typeface="Segoe UI Light" pitchFamily="34" charset="0"/>
                <a:ea typeface="+mn-ea"/>
                <a:cs typeface="+mn-cs"/>
              </a:rPr>
              <a:t>first_iam_page</a:t>
            </a:r>
            <a:r>
              <a:rPr lang="en-US" sz="900" kern="1200" dirty="0">
                <a:solidFill>
                  <a:schemeClr val="tx1"/>
                </a:solidFill>
                <a:effectLst/>
                <a:latin typeface="Segoe UI Light" pitchFamily="34" charset="0"/>
                <a:ea typeface="+mn-ea"/>
                <a:cs typeface="+mn-cs"/>
              </a:rPr>
              <a:t> column in </a:t>
            </a:r>
            <a:r>
              <a:rPr lang="en-US" sz="900" b="1" kern="1200" dirty="0" err="1">
                <a:solidFill>
                  <a:schemeClr val="tx1"/>
                </a:solidFill>
                <a:effectLst/>
                <a:latin typeface="Segoe UI Light" pitchFamily="34" charset="0"/>
                <a:ea typeface="+mn-ea"/>
                <a:cs typeface="+mn-cs"/>
              </a:rPr>
              <a:t>sys.system_internals_allocation_units</a:t>
            </a:r>
            <a:r>
              <a:rPr lang="en-US" sz="900" kern="1200" dirty="0">
                <a:solidFill>
                  <a:schemeClr val="tx1"/>
                </a:solidFill>
                <a:effectLst/>
                <a:latin typeface="Segoe UI Light" pitchFamily="34" charset="0"/>
                <a:ea typeface="+mn-ea"/>
                <a:cs typeface="+mn-cs"/>
              </a:rPr>
              <a:t> points to the IAM chain for the collection of heap data pages in the specified partition. The server uses the IAM pages to find the pages in the data page collection.</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Server uses the IAM pages to navigate through the heap. Data pages and the rows within them are not in any specific order and are not linked together. The only logical connection between data pages in a heap is the connection recorded in the IAM pag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IAM pages can be scanned to perform table scans or serial reads of a heap to find the extents holding pages for the heap. Because the IAM represents extents in the same order that they exist in the data files, serial heap scans progress uniformly down each file. Using the IAM pages to set the scan sequence also means that rows from the heap are not typically returned in the order in which they were inserted.</a:t>
            </a:r>
          </a:p>
          <a:p>
            <a:endParaRPr lang="en-US" sz="900" b="1" kern="1200" dirty="0">
              <a:solidFill>
                <a:schemeClr val="tx1"/>
              </a:solidFill>
              <a:effectLst/>
              <a:latin typeface="Segoe UI Light" pitchFamily="34" charset="0"/>
              <a:ea typeface="+mn-ea"/>
              <a:cs typeface="+mn-cs"/>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389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The fundamental unit of data storage in SQL Server is the page. The disk space allocated to a data file (.mdf or .ndf) in a database is logically divided into pages numbered contiguously from 0 to n. Disk I/O operations are performed at the page level. That is, SQL Server reads or writes whole data pages.</a:t>
            </a:r>
          </a:p>
          <a:p>
            <a:r>
              <a:rPr lang="en-US" sz="882" b="0" i="0" kern="1200" baseline="0" dirty="0">
                <a:solidFill>
                  <a:schemeClr val="tx1"/>
                </a:solidFill>
                <a:effectLst/>
                <a:latin typeface="+mn-lt"/>
                <a:ea typeface="+mn-ea"/>
                <a:cs typeface="+mn-cs"/>
              </a:rPr>
              <a:t>Extents are a collection of eight physically contiguous pages and are used to efficiently manage the pages. All pages are stored in extent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In SQL Server, the page size is 8 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r>
              <a:rPr lang="en-US" sz="900" b="1" kern="1200" dirty="0">
                <a:solidFill>
                  <a:schemeClr val="tx1"/>
                </a:solidFill>
                <a:effectLst/>
                <a:latin typeface="Segoe UI Light" pitchFamily="34" charset="0"/>
                <a:ea typeface="+mn-ea"/>
                <a:cs typeface="+mn-cs"/>
              </a:rPr>
              <a:t>Page header</a:t>
            </a:r>
          </a:p>
          <a:p>
            <a:r>
              <a:rPr lang="en-US" sz="900" kern="1200" dirty="0">
                <a:solidFill>
                  <a:schemeClr val="tx1"/>
                </a:solidFill>
                <a:effectLst/>
                <a:latin typeface="Segoe UI Light" pitchFamily="34" charset="0"/>
                <a:ea typeface="+mn-ea"/>
                <a:cs typeface="+mn-cs"/>
              </a:rPr>
              <a:t>The page header is the first 96 bytes of each data page. It contains the page header information such as the Page ID, Page type, and Allocation Unit ID of the page.</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Data rows</a:t>
            </a:r>
          </a:p>
          <a:p>
            <a:r>
              <a:rPr lang="en-US" sz="900" kern="1200" dirty="0">
                <a:solidFill>
                  <a:schemeClr val="tx1"/>
                </a:solidFill>
                <a:effectLst/>
                <a:latin typeface="Segoe UI Light" pitchFamily="34" charset="0"/>
                <a:ea typeface="+mn-ea"/>
                <a:cs typeface="+mn-cs"/>
              </a:rPr>
              <a:t>This section holds the actual data rows of the table. Data rows have the following characteristics:</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The maximum size of a single data row is 8,060 bytes.</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A normal data row cannot span multiple pages.</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Text and image data columns can be stored in their own separate pages and can span multiple pages.</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Fixed-length columns always store the same number of rows per page.</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Variable-length rows (rows from tables that are defined by using one or more variable length data types) store as many rows as will fit, based on the actual length of the data entered.</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Shorter row length enables more rows to fit on a page, thereby reducing I/O and improving the cache/hit ratio.</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Row offset array</a:t>
            </a:r>
          </a:p>
          <a:p>
            <a:r>
              <a:rPr lang="en-US" sz="900" kern="1200" dirty="0">
                <a:solidFill>
                  <a:schemeClr val="tx1"/>
                </a:solidFill>
                <a:effectLst/>
                <a:latin typeface="Segoe UI Light" pitchFamily="34" charset="0"/>
                <a:ea typeface="+mn-ea"/>
                <a:cs typeface="+mn-cs"/>
              </a:rPr>
              <a:t>The row offset array is a block of 2-byte entries, each of which indicates the offset on the page on which the corresponding data row begins. Each row has a 2-byte entry in this array. Although these bytes are not stored in the row with the data, they do have an effect on the number of rows that will fit on a page.</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row offset array indicates the logical order of rows on a page. For example, if a table has a clustered index, the logical order is the order of the clustered index key. This does not mean that the rows will be physically stored on the page in the order of the clustered index key. Instead, slot 0 in the offset array refers to the first row in the order, slot 1 refers to the second row, and so forth. The offset of these rows can be anywhere on the pag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hlinkClick r:id="rId3"/>
              </a:rPr>
              <a:t>http://www.sqlskills.com/BLOGS/PAUL/post/Inside-the-Storage-Engine-Anatomy-of-a-page.aspx</a:t>
            </a:r>
            <a:endParaRPr lang="en-US" sz="900" dirty="0"/>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Additional Reading:</a:t>
            </a:r>
            <a:endParaRPr lang="en-US" sz="900" dirty="0"/>
          </a:p>
          <a:p>
            <a:r>
              <a:rPr lang="en-US" sz="900" kern="1200" baseline="0" dirty="0">
                <a:solidFill>
                  <a:schemeClr val="tx1"/>
                </a:solidFill>
                <a:effectLst/>
                <a:latin typeface="+mn-lt"/>
                <a:ea typeface="+mn-ea"/>
                <a:cs typeface="+mn-cs"/>
              </a:rPr>
              <a:t>Pages and Extents Architecture Guide</a:t>
            </a:r>
          </a:p>
          <a:p>
            <a:r>
              <a:rPr lang="en-US" sz="900" i="1" kern="1200" baseline="0" dirty="0">
                <a:solidFill>
                  <a:schemeClr val="tx1"/>
                </a:solidFill>
                <a:effectLst/>
                <a:latin typeface="+mn-lt"/>
                <a:ea typeface="+mn-ea"/>
                <a:cs typeface="+mn-cs"/>
              </a:rPr>
              <a:t>From &lt;</a:t>
            </a:r>
            <a:r>
              <a:rPr lang="en-US" sz="900" i="1" kern="1200" baseline="0" dirty="0">
                <a:solidFill>
                  <a:schemeClr val="tx1"/>
                </a:solidFill>
                <a:effectLst/>
                <a:latin typeface="+mn-lt"/>
                <a:ea typeface="+mn-ea"/>
                <a:cs typeface="+mn-cs"/>
                <a:hlinkClick r:id="rId4"/>
              </a:rPr>
              <a:t>https://docs.microsoft.com/en-us/sql/relational-databases/pages-and-extents-architecture-guide?view=sql-server-ver15</a:t>
            </a:r>
            <a:r>
              <a:rPr lang="en-US" sz="900" i="1" kern="1200" baseline="0" dirty="0">
                <a:solidFill>
                  <a:schemeClr val="tx1"/>
                </a:solidFill>
                <a:effectLst/>
                <a:latin typeface="+mn-lt"/>
                <a:ea typeface="+mn-ea"/>
                <a:cs typeface="+mn-cs"/>
              </a:rPr>
              <a:t>&gt; </a:t>
            </a:r>
            <a:endParaRPr lang="en-US" sz="900" kern="1200" baseline="0" dirty="0">
              <a:solidFill>
                <a:schemeClr val="tx1"/>
              </a:solidFill>
              <a:effectLst/>
              <a:latin typeface="+mn-lt"/>
              <a:ea typeface="+mn-ea"/>
              <a:cs typeface="+mn-cs"/>
            </a:endParaRPr>
          </a:p>
          <a:p>
            <a:endParaRPr lang="en-US" sz="900" kern="1200" dirty="0">
              <a:solidFill>
                <a:schemeClr val="tx1"/>
              </a:solidFill>
              <a:effectLst/>
              <a:latin typeface="Segoe UI Light" pitchFamily="34" charset="0"/>
              <a:ea typeface="+mn-ea"/>
              <a:cs typeface="+mn-cs"/>
            </a:endParaRPr>
          </a:p>
          <a:p>
            <a:endParaRPr lang="en-US" dirty="0"/>
          </a:p>
          <a:p>
            <a:endParaRPr lang="en-US" dirty="0"/>
          </a:p>
          <a:p>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29937783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kern="1200" dirty="0">
                <a:solidFill>
                  <a:schemeClr val="tx1"/>
                </a:solidFill>
                <a:effectLst/>
                <a:latin typeface="Segoe UI Light" pitchFamily="34" charset="0"/>
                <a:ea typeface="+mn-ea"/>
                <a:cs typeface="+mn-cs"/>
              </a:rPr>
              <a:t>PFS and IAM are used to determine when an object needs a new extent allocated</a:t>
            </a:r>
          </a:p>
          <a:p>
            <a:r>
              <a:rPr lang="en-US" sz="800" kern="1200" dirty="0">
                <a:solidFill>
                  <a:schemeClr val="tx1"/>
                </a:solidFill>
                <a:effectLst/>
                <a:latin typeface="Segoe UI Light" pitchFamily="34" charset="0"/>
                <a:ea typeface="+mn-ea"/>
                <a:cs typeface="+mn-cs"/>
              </a:rPr>
              <a:t>When SQL Server needs to insert a new row, but there is no space available in the current page, SQL Server uses the IAM and PFS pages to find a page with enough space to hold the row. First, SQL Server uses the IAM pages to find the extents allocated to the object. Then, for each extent, SQL Server searches the PFS pages to see if there is a page with enough free space to hold the row. Each IAM and PFS page covers a large number of data pages, which are generally stored in the memory in the SQL Server buffer pool. This means that these pages can be searched quickly.</a:t>
            </a:r>
          </a:p>
          <a:p>
            <a:endParaRPr lang="en-US" sz="800" kern="1200" dirty="0">
              <a:solidFill>
                <a:schemeClr val="tx1"/>
              </a:solidFill>
              <a:effectLst/>
              <a:latin typeface="Segoe UI Light" pitchFamily="34" charset="0"/>
              <a:ea typeface="+mn-ea"/>
              <a:cs typeface="+mn-cs"/>
            </a:endParaRP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SQL allocates a new extent to an object only when it cannot quickly find a page in an existing extent with enough space to hold the row that is being inserted. It allocates extents from those available in the filegroup by using a proportional fill algorithm (files are used in proportion to their free space). Every file in a filegroup should have a similar percentage of space used.</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Heaps have one row in </a:t>
            </a:r>
            <a:r>
              <a:rPr lang="en-US" sz="800" b="1" kern="1200" dirty="0" err="1">
                <a:solidFill>
                  <a:schemeClr val="tx1"/>
                </a:solidFill>
                <a:effectLst/>
                <a:latin typeface="Segoe UI Light" pitchFamily="34" charset="0"/>
                <a:ea typeface="+mn-ea"/>
                <a:cs typeface="+mn-cs"/>
              </a:rPr>
              <a:t>sys.partitions</a:t>
            </a:r>
            <a:r>
              <a:rPr lang="en-US" sz="800" kern="1200" dirty="0">
                <a:solidFill>
                  <a:schemeClr val="tx1"/>
                </a:solidFill>
                <a:effectLst/>
                <a:latin typeface="Segoe UI Light" pitchFamily="34" charset="0"/>
                <a:ea typeface="+mn-ea"/>
                <a:cs typeface="+mn-cs"/>
              </a:rPr>
              <a:t> with </a:t>
            </a:r>
            <a:r>
              <a:rPr lang="en-US" sz="800" b="1" kern="1200" dirty="0" err="1">
                <a:solidFill>
                  <a:schemeClr val="tx1"/>
                </a:solidFill>
                <a:effectLst/>
                <a:latin typeface="Segoe UI Light" pitchFamily="34" charset="0"/>
                <a:ea typeface="+mn-ea"/>
                <a:cs typeface="+mn-cs"/>
              </a:rPr>
              <a:t>index_id</a:t>
            </a:r>
            <a:r>
              <a:rPr lang="en-US" sz="800" kern="1200" dirty="0">
                <a:solidFill>
                  <a:schemeClr val="tx1"/>
                </a:solidFill>
                <a:effectLst/>
                <a:latin typeface="Segoe UI Light" pitchFamily="34" charset="0"/>
                <a:ea typeface="+mn-ea"/>
                <a:cs typeface="+mn-cs"/>
              </a:rPr>
              <a:t> = 0. The </a:t>
            </a:r>
            <a:r>
              <a:rPr lang="en-US" sz="800" b="1" kern="1200" dirty="0" err="1">
                <a:solidFill>
                  <a:schemeClr val="tx1"/>
                </a:solidFill>
                <a:effectLst/>
                <a:latin typeface="Segoe UI Light" pitchFamily="34" charset="0"/>
                <a:ea typeface="+mn-ea"/>
                <a:cs typeface="+mn-cs"/>
              </a:rPr>
              <a:t>first_iam_page</a:t>
            </a:r>
            <a:r>
              <a:rPr lang="en-US" sz="800" kern="1200" dirty="0">
                <a:solidFill>
                  <a:schemeClr val="tx1"/>
                </a:solidFill>
                <a:effectLst/>
                <a:latin typeface="Segoe UI Light" pitchFamily="34" charset="0"/>
                <a:ea typeface="+mn-ea"/>
                <a:cs typeface="+mn-cs"/>
              </a:rPr>
              <a:t> column in </a:t>
            </a:r>
            <a:r>
              <a:rPr lang="en-US" sz="800" b="1" kern="1200" dirty="0" err="1">
                <a:solidFill>
                  <a:schemeClr val="tx1"/>
                </a:solidFill>
                <a:effectLst/>
                <a:latin typeface="Segoe UI Light" pitchFamily="34" charset="0"/>
                <a:ea typeface="+mn-ea"/>
                <a:cs typeface="+mn-cs"/>
              </a:rPr>
              <a:t>sys.system_internals_allocation_units</a:t>
            </a:r>
            <a:r>
              <a:rPr lang="en-US" sz="800" kern="1200" dirty="0">
                <a:solidFill>
                  <a:schemeClr val="tx1"/>
                </a:solidFill>
                <a:effectLst/>
                <a:latin typeface="Segoe UI Light" pitchFamily="34" charset="0"/>
                <a:ea typeface="+mn-ea"/>
                <a:cs typeface="+mn-cs"/>
              </a:rPr>
              <a:t> points to the IAM chain for the collection of heap data pages in the specified partition. The server uses the IAM pages to find the pages in the data page collection.</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SQL Server uses the IAM pages to navigate through the heap. Data pages and the rows within them are not in any specific order and are not linked together. The only logical connection between data pages in a heap is the connection recorded in the IAM pages.</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The IAM pages can be scanned to perform table scans or serial reads of a heap to find the extents holding pages for the heap. Because the IAM represents extents in the same order that they exist in the data files, serial heap scans progress uniformly down each file. Using the IAM pages to set the scan sequence also means that rows from the heap are not typically returned in the order in which they were inserte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dirty="0"/>
          </a:p>
        </p:txBody>
      </p:sp>
    </p:spTree>
    <p:extLst>
      <p:ext uri="{BB962C8B-B14F-4D97-AF65-F5344CB8AC3E}">
        <p14:creationId xmlns:p14="http://schemas.microsoft.com/office/powerpoint/2010/main" val="8314568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dirty="0"/>
          </a:p>
        </p:txBody>
      </p:sp>
    </p:spTree>
    <p:extLst>
      <p:ext uri="{BB962C8B-B14F-4D97-AF65-F5344CB8AC3E}">
        <p14:creationId xmlns:p14="http://schemas.microsoft.com/office/powerpoint/2010/main" val="24347290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baseline="0" dirty="0"/>
              <a:t>Up to, and including, SQL Server 2014 (12.x)</a:t>
            </a:r>
            <a:endParaRPr lang="en-US" sz="1800" dirty="0"/>
          </a:p>
          <a:p>
            <a:pPr lvl="1"/>
            <a:r>
              <a:rPr lang="en-US" sz="1800" baseline="0" dirty="0"/>
              <a:t>On object creation 2 pages from a mixed extents are allocated:</a:t>
            </a:r>
            <a:endParaRPr lang="en-US" sz="1800" dirty="0"/>
          </a:p>
          <a:p>
            <a:pPr lvl="2"/>
            <a:r>
              <a:rPr lang="en-US" sz="1800" baseline="0" dirty="0"/>
              <a:t>1st page is for the object itself</a:t>
            </a:r>
            <a:endParaRPr lang="en-US" sz="1800" dirty="0"/>
          </a:p>
          <a:p>
            <a:pPr lvl="2"/>
            <a:r>
              <a:rPr lang="en-US" sz="1800" baseline="0" dirty="0"/>
              <a:t>2nd page contains the list of all pages used by the object (IAM)</a:t>
            </a:r>
            <a:endParaRPr lang="en-US" sz="1800" dirty="0"/>
          </a:p>
          <a:p>
            <a:pPr lvl="1"/>
            <a:r>
              <a:rPr lang="en-US" sz="1800" baseline="0" dirty="0"/>
              <a:t>As more space is needed, additional pages are added:</a:t>
            </a:r>
            <a:endParaRPr lang="en-US" sz="1800" dirty="0"/>
          </a:p>
          <a:p>
            <a:pPr lvl="2"/>
            <a:r>
              <a:rPr lang="en-US" sz="1800" baseline="0" dirty="0"/>
              <a:t>Up to 8 data pages, new pages are added individually from mixed extents </a:t>
            </a:r>
            <a:endParaRPr lang="en-US" sz="1800" dirty="0"/>
          </a:p>
          <a:p>
            <a:pPr lvl="2"/>
            <a:r>
              <a:rPr lang="en-US" sz="1800" baseline="0" dirty="0"/>
              <a:t>After 8 data pages,  new allocation comes from Uniform Extent – i.e. 8 pages are allocated</a:t>
            </a:r>
            <a:endParaRPr lang="en-US" sz="1800" dirty="0"/>
          </a:p>
          <a:p>
            <a:pPr lvl="2"/>
            <a:r>
              <a:rPr lang="en-US" sz="1800" baseline="0" dirty="0"/>
              <a:t>The corresponding IAM gets updated to reflect new page(s)</a:t>
            </a:r>
            <a:endParaRPr lang="en-US" sz="1800"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dirty="0"/>
          </a:p>
        </p:txBody>
      </p:sp>
    </p:spTree>
    <p:extLst>
      <p:ext uri="{BB962C8B-B14F-4D97-AF65-F5344CB8AC3E}">
        <p14:creationId xmlns:p14="http://schemas.microsoft.com/office/powerpoint/2010/main" val="35723076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dirty="0"/>
          </a:p>
        </p:txBody>
      </p:sp>
    </p:spTree>
    <p:extLst>
      <p:ext uri="{BB962C8B-B14F-4D97-AF65-F5344CB8AC3E}">
        <p14:creationId xmlns:p14="http://schemas.microsoft.com/office/powerpoint/2010/main" val="7688262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Consider a scenario, where the user is trying to insert/update a record into the database table. Represented below is a very high level overview of the algorithm/process SQL Server uses to insert/update the record. There is another thing which SQL Server has to check when doing an INSERT operation. But those are not important for this discussion about the Allocation objects.</a:t>
            </a:r>
          </a:p>
          <a:p>
            <a:pPr lvl="1"/>
            <a:r>
              <a:rPr lang="en-US" dirty="0"/>
              <a:t>Calculate the space required for the inserted record (or could be updated record size).</a:t>
            </a:r>
          </a:p>
          <a:p>
            <a:pPr lvl="1"/>
            <a:r>
              <a:rPr lang="en-US" dirty="0"/>
              <a:t>Check if the Table already had some pages allocated (use IAM page/Clustered Index Root Page). In case of update, this would always be true.</a:t>
            </a:r>
          </a:p>
          <a:p>
            <a:pPr lvl="1"/>
            <a:r>
              <a:rPr lang="en-US" dirty="0"/>
              <a:t>Check if any of these pages has enough unallocated space to fit the new record (PFS Page/Page header). If there is enough space, insert record and update PFS page/Page header with the information related to unallocated space and other related information.</a:t>
            </a:r>
          </a:p>
          <a:p>
            <a:pPr lvl="1"/>
            <a:r>
              <a:rPr lang="en-US" dirty="0"/>
              <a:t>If there is not enough unallocated space on the pages, allocate a New Page.</a:t>
            </a:r>
          </a:p>
          <a:p>
            <a:pPr lvl="1"/>
            <a:r>
              <a:rPr lang="en-US" dirty="0"/>
              <a:t>Check if TF 1118 (uniform Extent allocation) is enabled or if the table has more than eight pages already allocated or if SQL Server is 13.x or later.</a:t>
            </a:r>
          </a:p>
          <a:p>
            <a:pPr marL="344472" lvl="2" indent="0">
              <a:buNone/>
            </a:pPr>
            <a:r>
              <a:rPr lang="en-US" dirty="0"/>
              <a:t>If yes, allocate a new Uniform extent to the table, else allocate a page from one of the Mixed extents (GAM/SGAM Pages). Update GAM/SGAM, to reflect the changes (mark the extent used in case it was uniform extent allocation, or if the mixed extent is full). Additionally, update the IAM Page with the information.</a:t>
            </a:r>
          </a:p>
          <a:p>
            <a:pPr lvl="1"/>
            <a:r>
              <a:rPr lang="en-US" dirty="0"/>
              <a:t>Insert the record on the newly allocated page, update the PFS Page, with the unallocated space information.</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8871455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Differential Changed Map (DCM)</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is tracks the extents that have changed since the last BACKUP DATABASE statement. If the bit for an extent is 1, the extent has been modified since the last BACKUP DATABASE statement. If the bit is 0, the extent has not been modified. Differential backups read just the DCM pages to determine which extents have been modified. This greatly reduces the number of pages that a differential backup must scan. The length of time that a differential backup runs is proportional to the number of extents modified since the last BACKUP DATABASE statement and not the overall size of the databas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dirty="0"/>
          </a:p>
        </p:txBody>
      </p:sp>
    </p:spTree>
    <p:extLst>
      <p:ext uri="{BB962C8B-B14F-4D97-AF65-F5344CB8AC3E}">
        <p14:creationId xmlns:p14="http://schemas.microsoft.com/office/powerpoint/2010/main" val="24280519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Bulk Changed Map (BCM)</a:t>
            </a:r>
            <a:br>
              <a:rPr lang="en-US" dirty="0"/>
            </a:br>
            <a:r>
              <a:rPr lang="en-US" sz="882" b="0" i="0" kern="1200" baseline="0" dirty="0">
                <a:solidFill>
                  <a:schemeClr val="tx1"/>
                </a:solidFill>
                <a:effectLst/>
                <a:latin typeface="+mn-lt"/>
                <a:ea typeface="+mn-ea"/>
                <a:cs typeface="+mn-cs"/>
              </a:rPr>
              <a:t>This tracks the extents that have been modified by bulk logged operations since the last </a:t>
            </a:r>
            <a:r>
              <a:rPr lang="en-US" dirty="0"/>
              <a:t>BACKUP LOG</a:t>
            </a:r>
            <a:r>
              <a:rPr lang="en-US" sz="882" b="0" i="0" kern="1200" baseline="0" dirty="0">
                <a:solidFill>
                  <a:schemeClr val="tx1"/>
                </a:solidFill>
                <a:effectLst/>
                <a:latin typeface="+mn-lt"/>
                <a:ea typeface="+mn-ea"/>
                <a:cs typeface="+mn-cs"/>
              </a:rPr>
              <a:t> statement. If the bit for an extent is 1, the extent has been modified by a bulk logged operation after the last </a:t>
            </a:r>
            <a:r>
              <a:rPr lang="en-US" dirty="0"/>
              <a:t>BACKUP LOG</a:t>
            </a:r>
            <a:r>
              <a:rPr lang="en-US" sz="882" b="0" i="0" kern="1200" baseline="0" dirty="0">
                <a:solidFill>
                  <a:schemeClr val="tx1"/>
                </a:solidFill>
                <a:effectLst/>
                <a:latin typeface="+mn-lt"/>
                <a:ea typeface="+mn-ea"/>
                <a:cs typeface="+mn-cs"/>
              </a:rPr>
              <a:t> statement. If the bit is 0, the extent has not been modified by bulk logged operations. Although BCM pages appear in all databases, they are only relevant when the database is using the bulk-logged recovery model. In this recovery model, when a </a:t>
            </a:r>
            <a:r>
              <a:rPr lang="en-US" dirty="0"/>
              <a:t>BACKUP LOG</a:t>
            </a:r>
            <a:r>
              <a:rPr lang="en-US" sz="882" b="0" i="0" kern="1200" baseline="0" dirty="0">
                <a:solidFill>
                  <a:schemeClr val="tx1"/>
                </a:solidFill>
                <a:effectLst/>
                <a:latin typeface="+mn-lt"/>
                <a:ea typeface="+mn-ea"/>
                <a:cs typeface="+mn-cs"/>
              </a:rPr>
              <a:t> is performed, the backup process scans the BCMs for extents that have been modified. It then includes those extents in the log backup. This lets the bulk logged operations be recovered if the database is restored from a database backup and a sequence of transaction log backups. BCM pages are not relevant in a database that is using the simple recovery model, because no bulk logged operations are logged. They are not relevant in a database that is using the full recovery model, because that recovery model treats bulk logged operations as fully logged operations.</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35682993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3202322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Q1) What is the file pattern usage for data files?</a:t>
            </a:r>
          </a:p>
          <a:p>
            <a:pPr lvl="0"/>
            <a:r>
              <a:rPr lang="en-US" dirty="0"/>
              <a:t>A1) Random read and writes</a:t>
            </a:r>
          </a:p>
          <a:p>
            <a:pPr lvl="0"/>
            <a:endParaRPr lang="en-US" dirty="0"/>
          </a:p>
          <a:p>
            <a:pPr lvl="0"/>
            <a:r>
              <a:rPr lang="en-US" dirty="0"/>
              <a:t>Q2) What operations causes write operations to the data fil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2) Write activity during checkpoints, recovery, and lazy writes</a:t>
            </a:r>
          </a:p>
          <a:p>
            <a:pPr lvl="0"/>
            <a:endParaRPr lang="en-US" dirty="0"/>
          </a:p>
          <a:p>
            <a:pPr lvl="0"/>
            <a:r>
              <a:rPr lang="en-US" dirty="0"/>
              <a:t>Q3) What is an extent?</a:t>
            </a:r>
          </a:p>
          <a:p>
            <a:pPr lvl="0"/>
            <a:r>
              <a:rPr lang="en-US" dirty="0"/>
              <a:t>A3) A group of 8 pages of 8 KB each for a total of 64 KB</a:t>
            </a:r>
          </a:p>
          <a:p>
            <a:pPr lvl="0"/>
            <a:endParaRPr lang="en-US" dirty="0"/>
          </a:p>
          <a:p>
            <a:pPr lvl="0"/>
            <a:r>
              <a:rPr lang="en-US" dirty="0"/>
              <a:t>Q4) What is the object allocation behavior change  starting SQL Server 2016?</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4) Starting with SQL Server 2016 (13.x), the default for all allocations in the database is uniform extents</a:t>
            </a:r>
          </a:p>
          <a:p>
            <a:pPr lvl="0"/>
            <a:endParaRPr lang="en-US" dirty="0"/>
          </a:p>
          <a:p>
            <a:pPr lvl="0"/>
            <a:r>
              <a:rPr lang="en-US" sz="900" dirty="0"/>
              <a:t>Q5) What special pages are used to control object allocation?</a:t>
            </a:r>
            <a:endParaRPr lang="en-US" dirty="0"/>
          </a:p>
          <a:p>
            <a:pPr lvl="0"/>
            <a:r>
              <a:rPr lang="en-US" dirty="0"/>
              <a:t>A5) PFS, GAM, SGAM, IAM</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dirty="0"/>
          </a:p>
        </p:txBody>
      </p:sp>
    </p:spTree>
    <p:extLst>
      <p:ext uri="{BB962C8B-B14F-4D97-AF65-F5344CB8AC3E}">
        <p14:creationId xmlns:p14="http://schemas.microsoft.com/office/powerpoint/2010/main" val="2577646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15180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Take a regular book: all content in it is written on pages. Similar to a book, in SQL Server all the data rows are written on pages. In a book, all pages are the same physical size. Similarly, in SQL Server all data pages are the same size - 8 kilobytes. In a book most pages contain the data - the main content of the book - and some pages contain metadata about the content - for example table of contents and index. Again, SQL Server is not different: most pages contain actual rows of data which were stored by users; these are called Data pages and text/image pages (for special cases). The Index pages contain index references about where the data is and finally there are system pages that store variety of metadata about the organization of the data (PFS, GAM, SGAM, IAM, DCM, BCM pages). See table below for page types and their description.</a:t>
            </a:r>
          </a:p>
          <a:p>
            <a:r>
              <a:rPr lang="en-US" sz="882" b="0" i="0" kern="1200" baseline="0" dirty="0">
                <a:solidFill>
                  <a:schemeClr val="tx1"/>
                </a:solidFill>
                <a:effectLst/>
                <a:latin typeface="+mn-lt"/>
                <a:ea typeface="+mn-ea"/>
                <a:cs typeface="+mn-cs"/>
              </a:rPr>
              <a:t>As mentioned, in SQL Server, the page size is 8-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a:t>
            </a:r>
            <a:r>
              <a:rPr lang="en-US" dirty="0">
                <a:hlinkClick r:id="rId3"/>
              </a:rPr>
              <a:t>Pages and Extents Architecture Guide - SQL Server | Microsoft Learn</a:t>
            </a:r>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3585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baseline="0" dirty="0">
                <a:solidFill>
                  <a:schemeClr val="tx1"/>
                </a:solidFill>
                <a:effectLst/>
                <a:latin typeface="+mn-lt"/>
                <a:ea typeface="+mn-ea"/>
                <a:cs typeface="+mn-cs"/>
              </a:rPr>
              <a:t>Operations with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are minimally logged so that transactions can be rolled back.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is re-created every time SQL Server is started so that the system always starts with a clean copy of the database. Temporary tables and stored procedures are dropped automatically on disconnect, and no connections are active when the system is shut down. Therefore, there is never anything 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to be saved from one session of SQL Server to another. Backup and restore operations are not allowed o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a:t>
            </a:r>
          </a:p>
          <a:p>
            <a:endParaRPr lang="en-US" sz="882" b="0" i="0" u="none" strike="noStrike" kern="1200" baseline="0" dirty="0">
              <a:solidFill>
                <a:schemeClr val="tx1"/>
              </a:solidFill>
              <a:effectLst/>
              <a:latin typeface="+mn-lt"/>
              <a:ea typeface="+mn-ea"/>
              <a:cs typeface="+mn-cs"/>
            </a:endParaRPr>
          </a:p>
          <a:p>
            <a:endParaRPr lang="en-US" sz="882" b="0" i="0" u="none" strike="noStrike"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dirty="0"/>
          </a:p>
        </p:txBody>
      </p:sp>
    </p:spTree>
    <p:extLst>
      <p:ext uri="{BB962C8B-B14F-4D97-AF65-F5344CB8AC3E}">
        <p14:creationId xmlns:p14="http://schemas.microsoft.com/office/powerpoint/2010/main" val="144277928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emporary </a:t>
            </a:r>
            <a:r>
              <a:rPr lang="en-US" sz="882" b="1" i="0" kern="1200" baseline="0" dirty="0">
                <a:solidFill>
                  <a:schemeClr val="tx1"/>
                </a:solidFill>
                <a:effectLst/>
                <a:latin typeface="+mn-lt"/>
                <a:ea typeface="+mn-ea"/>
                <a:cs typeface="+mn-cs"/>
              </a:rPr>
              <a:t>user objects</a:t>
            </a:r>
            <a:r>
              <a:rPr lang="en-US" sz="882" b="0" i="0" kern="1200" baseline="0" dirty="0">
                <a:solidFill>
                  <a:schemeClr val="tx1"/>
                </a:solidFill>
                <a:effectLst/>
                <a:latin typeface="+mn-lt"/>
                <a:ea typeface="+mn-ea"/>
                <a:cs typeface="+mn-cs"/>
              </a:rPr>
              <a:t> that are explicitly created, such as: </a:t>
            </a:r>
          </a:p>
          <a:p>
            <a:pPr lvl="1"/>
            <a:r>
              <a:rPr lang="en-US" sz="882" b="0" i="0" kern="1200" baseline="0" dirty="0">
                <a:solidFill>
                  <a:schemeClr val="tx1"/>
                </a:solidFill>
                <a:effectLst/>
                <a:latin typeface="+mn-lt"/>
                <a:ea typeface="+mn-ea"/>
                <a:cs typeface="+mn-cs"/>
              </a:rPr>
              <a:t>Global or local temporary tables and indexes</a:t>
            </a:r>
          </a:p>
          <a:p>
            <a:pPr lvl="1"/>
            <a:r>
              <a:rPr lang="en-US" sz="882" b="0" i="0" kern="1200" baseline="0" dirty="0">
                <a:solidFill>
                  <a:schemeClr val="tx1"/>
                </a:solidFill>
                <a:effectLst/>
                <a:latin typeface="+mn-lt"/>
                <a:ea typeface="+mn-ea"/>
                <a:cs typeface="+mn-cs"/>
              </a:rPr>
              <a:t>Temporary stored procedures</a:t>
            </a:r>
          </a:p>
          <a:p>
            <a:pPr lvl="1"/>
            <a:r>
              <a:rPr lang="en-US" sz="882" b="0" i="0" kern="1200" baseline="0" dirty="0">
                <a:solidFill>
                  <a:schemeClr val="tx1"/>
                </a:solidFill>
                <a:effectLst/>
                <a:latin typeface="+mn-lt"/>
                <a:ea typeface="+mn-ea"/>
                <a:cs typeface="+mn-cs"/>
              </a:rPr>
              <a:t>Table variables</a:t>
            </a:r>
          </a:p>
          <a:p>
            <a:pPr lvl="1"/>
            <a:r>
              <a:rPr lang="en-US" sz="882" b="0" i="0" kern="1200" baseline="0" dirty="0">
                <a:solidFill>
                  <a:schemeClr val="tx1"/>
                </a:solidFill>
                <a:effectLst/>
                <a:latin typeface="+mn-lt"/>
                <a:ea typeface="+mn-ea"/>
                <a:cs typeface="+mn-cs"/>
              </a:rPr>
              <a:t>Tables returned in table-valued functions, or cursor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nal objects</a:t>
            </a:r>
            <a:r>
              <a:rPr lang="en-US" sz="882" b="0" i="0" kern="1200" baseline="0" dirty="0">
                <a:solidFill>
                  <a:schemeClr val="tx1"/>
                </a:solidFill>
                <a:effectLst/>
                <a:latin typeface="+mn-lt"/>
                <a:ea typeface="+mn-ea"/>
                <a:cs typeface="+mn-cs"/>
              </a:rPr>
              <a:t> that are created by the database engine. These include:</a:t>
            </a:r>
          </a:p>
          <a:p>
            <a:pPr lvl="1"/>
            <a:r>
              <a:rPr lang="en-US" sz="882" b="0" i="0" kern="1200" baseline="0" dirty="0">
                <a:solidFill>
                  <a:schemeClr val="tx1"/>
                </a:solidFill>
                <a:effectLst/>
                <a:latin typeface="+mn-lt"/>
                <a:ea typeface="+mn-ea"/>
                <a:cs typeface="+mn-cs"/>
              </a:rPr>
              <a:t>Work tables to store intermediate results for spools, cursors, sorts, and temporary large object (LOB) storage.</a:t>
            </a:r>
          </a:p>
          <a:p>
            <a:pPr lvl="1"/>
            <a:r>
              <a:rPr lang="en-US" sz="882" b="0" i="0" kern="1200" baseline="0" dirty="0">
                <a:solidFill>
                  <a:schemeClr val="tx1"/>
                </a:solidFill>
                <a:effectLst/>
                <a:latin typeface="+mn-lt"/>
                <a:ea typeface="+mn-ea"/>
                <a:cs typeface="+mn-cs"/>
              </a:rPr>
              <a:t>Work files for hash join or hash aggregate operations.</a:t>
            </a:r>
          </a:p>
          <a:p>
            <a:pPr lvl="1"/>
            <a:r>
              <a:rPr lang="en-US" sz="882" b="0" i="0" kern="1200" baseline="0" dirty="0">
                <a:solidFill>
                  <a:schemeClr val="tx1"/>
                </a:solidFill>
                <a:effectLst/>
                <a:latin typeface="+mn-lt"/>
                <a:ea typeface="+mn-ea"/>
                <a:cs typeface="+mn-cs"/>
              </a:rPr>
              <a:t>Intermediate sort results for operations such as creating or rebuilding indexes (if SORT_IN_TEMPDB is specified), or certain GROUP BY, ORDER BY, or UNION queries.</a:t>
            </a:r>
          </a:p>
          <a:p>
            <a:endParaRPr lang="en-US" dirty="0"/>
          </a:p>
          <a:p>
            <a:r>
              <a:rPr lang="en-US" sz="882" b="1" i="0" kern="1200" baseline="0" dirty="0">
                <a:solidFill>
                  <a:schemeClr val="tx1"/>
                </a:solidFill>
                <a:effectLst/>
                <a:latin typeface="+mn-lt"/>
                <a:ea typeface="+mn-ea"/>
                <a:cs typeface="+mn-cs"/>
              </a:rPr>
              <a:t>Version stores</a:t>
            </a:r>
            <a:r>
              <a:rPr lang="en-US" sz="882" b="0" i="0" kern="1200" baseline="0" dirty="0">
                <a:solidFill>
                  <a:schemeClr val="tx1"/>
                </a:solidFill>
                <a:effectLst/>
                <a:latin typeface="+mn-lt"/>
                <a:ea typeface="+mn-ea"/>
                <a:cs typeface="+mn-cs"/>
              </a:rPr>
              <a:t>, which are a collection of data pages that hold the data rows that are required to support the features that use row versioning. There are two version stores: a common version store and an online-index-build version store. The version stores contain:</a:t>
            </a:r>
          </a:p>
          <a:p>
            <a:pPr lvl="1"/>
            <a:r>
              <a:rPr lang="en-US" sz="882" b="0" i="0" kern="1200" baseline="0" dirty="0">
                <a:solidFill>
                  <a:schemeClr val="tx1"/>
                </a:solidFill>
                <a:effectLst/>
                <a:latin typeface="+mn-lt"/>
                <a:ea typeface="+mn-ea"/>
                <a:cs typeface="+mn-cs"/>
              </a:rPr>
              <a:t>Row versions that are generated by data modification transactions in a database that uses read-committed using row versioning isolation or snapshot isolation transactions.</a:t>
            </a:r>
          </a:p>
          <a:p>
            <a:pPr lvl="1"/>
            <a:r>
              <a:rPr lang="en-US" sz="882" b="0" i="0" kern="1200" baseline="0" dirty="0">
                <a:solidFill>
                  <a:schemeClr val="tx1"/>
                </a:solidFill>
                <a:effectLst/>
                <a:latin typeface="+mn-lt"/>
                <a:ea typeface="+mn-ea"/>
                <a:cs typeface="+mn-cs"/>
              </a:rPr>
              <a:t>Row versions that are generated by data modification transactions for features, such as: online index operations, Multiple Active Result Sets (MARS), and AFTER triggers.</a:t>
            </a:r>
          </a:p>
          <a:p>
            <a:pPr marL="171450" indent="-171450">
              <a:buFontTx/>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and When) To: Memory Optimized TempDB Metadata</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It Just Runs Faster: SQL Server 2019 TempDB Improvemen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channel9.msdn.com/Shows/Data-Exposed/It-Just-Runs-Faster-SQL-Server-2019-TempDB-Improvemen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171450" indent="-171450">
              <a:buFontTx/>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dirty="0"/>
          </a:p>
        </p:txBody>
      </p:sp>
    </p:spTree>
    <p:extLst>
      <p:ext uri="{BB962C8B-B14F-4D97-AF65-F5344CB8AC3E}">
        <p14:creationId xmlns:p14="http://schemas.microsoft.com/office/powerpoint/2010/main" val="4968665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dirty="0"/>
          </a:p>
        </p:txBody>
      </p:sp>
    </p:spTree>
    <p:extLst>
      <p:ext uri="{BB962C8B-B14F-4D97-AF65-F5344CB8AC3E}">
        <p14:creationId xmlns:p14="http://schemas.microsoft.com/office/powerpoint/2010/main" val="16178918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possible, use database instant file initialization to improve the performance of data file grow operations.</a:t>
            </a:r>
          </a:p>
          <a:p>
            <a:pPr marL="171450" indent="-171450">
              <a:buFont typeface="Arial" panose="020B0604020202020204" pitchFamily="34" charset="0"/>
              <a:buChar char="•"/>
            </a:pPr>
            <a:r>
              <a:rPr lang="en-US" dirty="0"/>
              <a:t>Preallocate space for all TempDB files by setting the file size to a value large enough to accommodate the typical workload in the environment. </a:t>
            </a:r>
          </a:p>
          <a:p>
            <a:pPr marL="171450" indent="-171450">
              <a:buFont typeface="Arial" panose="020B0604020202020204" pitchFamily="34" charset="0"/>
              <a:buChar char="•"/>
            </a:pPr>
            <a:r>
              <a:rPr lang="en-US" dirty="0"/>
              <a:t>The TempDB database should be set to autogrow, but this should be used to increase disk space for unplanned exceptions.</a:t>
            </a:r>
          </a:p>
          <a:p>
            <a:pPr marL="171450" indent="-171450">
              <a:buFont typeface="Arial" panose="020B0604020202020204" pitchFamily="34" charset="0"/>
              <a:buChar char="•"/>
            </a:pPr>
            <a:r>
              <a:rPr lang="en-US" dirty="0"/>
              <a:t>Data files should be of equal size within each filegroup, as SQL Server uses a proportional-fill algorithm that favors allocations in files with more free space. </a:t>
            </a:r>
          </a:p>
          <a:p>
            <a:pPr marL="171450" indent="-171450">
              <a:buFont typeface="Arial" panose="020B0604020202020204" pitchFamily="34" charset="0"/>
              <a:buChar char="•"/>
            </a:pPr>
            <a:r>
              <a:rPr lang="en-US" dirty="0"/>
              <a:t>Dividing TempDB into multiple data files of equal size provides a high degree of parallel efficiency in operations that use TempDB.</a:t>
            </a:r>
          </a:p>
          <a:p>
            <a:pPr marL="171450" indent="-171450">
              <a:buFont typeface="Arial" panose="020B0604020202020204" pitchFamily="34" charset="0"/>
              <a:buChar char="•"/>
            </a:pPr>
            <a:r>
              <a:rPr lang="en-US" dirty="0"/>
              <a:t>Put the TempDB database on a fast I/O subsystem. Use disk striping if there are many directly attached disks. Individual or groups of TempDB data files do not necessarily need to be on different disks or spindles unless you are also encountering I/O bottlenecks.</a:t>
            </a:r>
          </a:p>
          <a:p>
            <a:pPr marL="171450" indent="-171450">
              <a:buFont typeface="Arial" panose="020B0604020202020204" pitchFamily="34" charset="0"/>
              <a:buChar char="•"/>
            </a:pPr>
            <a:r>
              <a:rPr lang="en-US" dirty="0"/>
              <a:t>Put the TempDB database on disks that differ from those that are used by user databases.</a:t>
            </a:r>
          </a:p>
          <a:p>
            <a:endParaRPr lang="en-US" dirty="0"/>
          </a:p>
          <a:p>
            <a:r>
              <a:rPr lang="en-US" sz="882" kern="1200" baseline="0" dirty="0">
                <a:solidFill>
                  <a:schemeClr val="tx1"/>
                </a:solidFill>
                <a:effectLst/>
                <a:latin typeface="+mn-lt"/>
                <a:ea typeface="+mn-ea"/>
                <a:cs typeface="+mn-cs"/>
              </a:rPr>
              <a:t>Performance improvements in TempDB for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erformance-improvements-in-tempdb-for-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dirty="0"/>
          </a:p>
        </p:txBody>
      </p:sp>
    </p:spTree>
    <p:extLst>
      <p:ext uri="{BB962C8B-B14F-4D97-AF65-F5344CB8AC3E}">
        <p14:creationId xmlns:p14="http://schemas.microsoft.com/office/powerpoint/2010/main" val="12651216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SQL 2016 - It Just Runs Faster: Automatic TEMPDB Configura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archive/blogs/bobsql/sql-2016-it-just-runs-faster-automatic-tempdb-configuration</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dirty="0"/>
          </a:p>
        </p:txBody>
      </p:sp>
    </p:spTree>
    <p:extLst>
      <p:ext uri="{BB962C8B-B14F-4D97-AF65-F5344CB8AC3E}">
        <p14:creationId xmlns:p14="http://schemas.microsoft.com/office/powerpoint/2010/main" val="258938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emporary tables and table variables are cached. Caching allows operations that drop and create the temporary objects to execute very quickly and reduces page allocation conten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ocation page latching protocol is improved to reduce the number of UP (update) latches that are us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Logging overhead for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is reduced to reduce disk I/O bandwidth consumption on th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log fi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etup adds multiple TempDB data files during a new instance installation. This task can be accomplished with the new UI input control on the </a:t>
            </a:r>
            <a:r>
              <a:rPr lang="en-US" sz="882" b="1" i="0" kern="1200" baseline="0" dirty="0">
                <a:solidFill>
                  <a:schemeClr val="tx1"/>
                </a:solidFill>
                <a:effectLst/>
                <a:latin typeface="+mn-lt"/>
                <a:ea typeface="+mn-ea"/>
                <a:cs typeface="+mn-cs"/>
              </a:rPr>
              <a:t>Database Engine Configuration</a:t>
            </a:r>
            <a:r>
              <a:rPr lang="en-US" sz="882" b="0" i="0" kern="1200" baseline="0" dirty="0">
                <a:solidFill>
                  <a:schemeClr val="tx1"/>
                </a:solidFill>
                <a:effectLst/>
                <a:latin typeface="+mn-lt"/>
                <a:ea typeface="+mn-ea"/>
                <a:cs typeface="+mn-cs"/>
              </a:rPr>
              <a:t> section and a command-line parameter /SQLTEMPDBFILECOUNT. By default, setup adds as many TempDB data files as the logical processor count or eight, whichever is lower.</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When there are multipl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data files, all files autogrow at same time and by the same amount depending on growth settings. </a:t>
            </a:r>
            <a:r>
              <a:rPr lang="en-US" sz="882" b="0" i="0" u="none" strike="noStrike" kern="1200" baseline="0" dirty="0">
                <a:solidFill>
                  <a:schemeClr val="tx1"/>
                </a:solidFill>
                <a:effectLst/>
                <a:latin typeface="+mn-lt"/>
                <a:ea typeface="+mn-ea"/>
                <a:cs typeface="+mn-cs"/>
                <a:hlinkClick r:id="rId3"/>
              </a:rPr>
              <a:t>Trace flag 1117</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 allocations in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use uniform extents. </a:t>
            </a:r>
            <a:r>
              <a:rPr lang="en-US" sz="882" b="0" i="0" u="none" strike="noStrike" kern="1200" baseline="0" dirty="0">
                <a:solidFill>
                  <a:schemeClr val="tx1"/>
                </a:solidFill>
                <a:effectLst/>
                <a:latin typeface="+mn-lt"/>
                <a:ea typeface="+mn-ea"/>
                <a:cs typeface="+mn-cs"/>
                <a:hlinkClick r:id="rId3"/>
              </a:rPr>
              <a:t>Trace flag 1118</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For the primary filegroup, the AUTOGROW_ALL_FILES property is turned on and the property cannot be modified.</a:t>
            </a:r>
          </a:p>
          <a:p>
            <a:pPr marL="171450" indent="-171450">
              <a:buFont typeface="Arial" panose="020B0604020202020204" pitchFamily="34" charset="0"/>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dirty="0"/>
          </a:p>
        </p:txBody>
      </p:sp>
    </p:spTree>
    <p:extLst>
      <p:ext uri="{BB962C8B-B14F-4D97-AF65-F5344CB8AC3E}">
        <p14:creationId xmlns:p14="http://schemas.microsoft.com/office/powerpoint/2010/main" val="8595091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are this link: </a:t>
            </a:r>
            <a:r>
              <a:rPr lang="en-US" sz="882" i="1" kern="1200" baseline="0" dirty="0">
                <a:solidFill>
                  <a:schemeClr val="tx1"/>
                </a:solidFill>
                <a:effectLst/>
                <a:latin typeface="+mn-lt"/>
                <a:ea typeface="+mn-ea"/>
                <a:cs typeface="+mn-cs"/>
              </a:rPr>
              <a:t>https://techcommunity.microsoft.com/t5/sql-server/tempdb-files-and-trace-flags-and-updates-oh-my/ba-p/385937</a:t>
            </a:r>
          </a:p>
          <a:p>
            <a:r>
              <a:rPr lang="en-US" sz="882" b="1" i="0" kern="1200" baseline="0" dirty="0">
                <a:solidFill>
                  <a:schemeClr val="tx1"/>
                </a:solidFill>
                <a:effectLst/>
                <a:latin typeface="+mn-lt"/>
                <a:ea typeface="+mn-ea"/>
                <a:cs typeface="+mn-cs"/>
              </a:rPr>
              <a:t>Share this video</a:t>
            </a:r>
            <a:r>
              <a:rPr lang="en-US" sz="882" i="1" kern="1200" baseline="0" dirty="0">
                <a:solidFill>
                  <a:schemeClr val="tx1"/>
                </a:solidFill>
                <a:effectLst/>
                <a:latin typeface="+mn-lt"/>
                <a:ea typeface="+mn-ea"/>
                <a:cs typeface="+mn-cs"/>
              </a:rPr>
              <a:t>: </a:t>
            </a:r>
            <a:r>
              <a:rPr lang="en-US" dirty="0"/>
              <a:t>https://www.youtube.com/watch?v=g4aemv5O9as&amp;t=1s</a:t>
            </a:r>
          </a:p>
          <a:p>
            <a:endParaRPr lang="en-US" dirty="0"/>
          </a:p>
          <a:p>
            <a:r>
              <a:rPr lang="en-US" dirty="0"/>
              <a:t>Memory-Optimized TempDB Metadata</a:t>
            </a:r>
          </a:p>
          <a:p>
            <a:pPr lvl="1"/>
            <a:r>
              <a:rPr lang="en-US" dirty="0"/>
              <a:t>System tables involved in managing temporary table metadata can be moved into latch-free non-durable memory-optimized tables.</a:t>
            </a:r>
          </a:p>
          <a:p>
            <a:endParaRPr lang="en-US" dirty="0"/>
          </a:p>
          <a:p>
            <a:r>
              <a:rPr lang="en-US" dirty="0"/>
              <a:t>Considerations</a:t>
            </a:r>
          </a:p>
          <a:p>
            <a:pPr marL="768096" lvl="1" indent="-457200">
              <a:buFont typeface="+mj-lt"/>
              <a:buAutoNum type="arabicPeriod"/>
            </a:pPr>
            <a:r>
              <a:rPr lang="en-US" dirty="0"/>
              <a:t>This configuration change requires a restart of the service to take effect.</a:t>
            </a:r>
          </a:p>
          <a:p>
            <a:pPr marL="768096" lvl="1" indent="-457200">
              <a:buFont typeface="+mj-lt"/>
              <a:buAutoNum type="arabicPeriod"/>
            </a:pPr>
            <a:r>
              <a:rPr lang="en-US" dirty="0"/>
              <a:t>A single transaction may not access memory-optimized tables in more than one database. This means that any transactions that involve a memory-optimized table in a user database will not be able to access TempDB system views in the same transaction. </a:t>
            </a:r>
          </a:p>
          <a:p>
            <a:pPr marL="768096" lvl="1" indent="-457200">
              <a:buFont typeface="+mj-lt"/>
              <a:buAutoNum type="arabicPeriod"/>
            </a:pPr>
            <a:r>
              <a:rPr lang="en-US" dirty="0"/>
              <a:t>Queries against memory-optimized tables do not support locking and isolation hints, so queries against memory-optimized TempDB catalog views will not honor locking and isolation hints.</a:t>
            </a:r>
          </a:p>
          <a:p>
            <a:pPr marL="768096" lvl="1" indent="-457200">
              <a:buFont typeface="+mj-lt"/>
              <a:buAutoNum type="arabicPeriod"/>
            </a:pPr>
            <a:r>
              <a:rPr lang="en-US" dirty="0"/>
              <a:t>Columnstore indexes cannot be created on temporary tables when Memory-Optimized TempDB Metadata is enabled.</a:t>
            </a:r>
          </a:p>
          <a:p>
            <a:pPr marL="768096" lvl="1" indent="-457200">
              <a:buFont typeface="+mj-lt"/>
              <a:buAutoNum type="arabicPeriod"/>
            </a:pPr>
            <a:r>
              <a:rPr lang="en-US" dirty="0"/>
              <a:t>Due to the limitation on columnstore indexes, use of the sp_estimate_data_compression_savings system stored procedure with the COLUMNSTORE or COLUMNSTORE_ARCHIVE data compression parameter is not supported when Memory-Optimized TempDB Metadata is enabled.</a:t>
            </a:r>
          </a:p>
          <a:p>
            <a:pPr marL="768096" lvl="1" indent="-457200">
              <a:buFont typeface="+mj-lt"/>
              <a:buAutoNum type="arabicPeriod"/>
            </a:pPr>
            <a:endParaRPr lang="en-US" dirty="0"/>
          </a:p>
          <a:p>
            <a:pPr marL="768096" lvl="1" indent="-457200">
              <a:buFont typeface="+mj-lt"/>
              <a:buAutoNum type="arabicPeriod"/>
            </a:pPr>
            <a:endParaRPr lang="en-US" dirty="0"/>
          </a:p>
          <a:p>
            <a:r>
              <a:rPr lang="en-US" sz="900" kern="1200" baseline="0" dirty="0">
                <a:solidFill>
                  <a:schemeClr val="tx1"/>
                </a:solidFill>
                <a:effectLst/>
                <a:latin typeface="+mn-lt"/>
                <a:ea typeface="+mn-ea"/>
                <a:cs typeface="+mn-cs"/>
              </a:rPr>
              <a:t>How (and When) To: Memory Optimized TempDB Metadata</a:t>
            </a:r>
          </a:p>
          <a:p>
            <a:r>
              <a:rPr lang="en-US" sz="800" i="1" kern="1200" baseline="0" dirty="0">
                <a:solidFill>
                  <a:schemeClr val="tx1"/>
                </a:solidFill>
                <a:effectLst/>
                <a:latin typeface="+mn-lt"/>
                <a:ea typeface="+mn-ea"/>
                <a:cs typeface="+mn-cs"/>
              </a:rPr>
              <a:t>From &lt;</a:t>
            </a:r>
            <a:r>
              <a:rPr lang="en-US" sz="800"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00" i="1" kern="1200" baseline="0" dirty="0">
                <a:solidFill>
                  <a:schemeClr val="tx1"/>
                </a:solidFill>
                <a:effectLst/>
                <a:latin typeface="+mn-lt"/>
                <a:ea typeface="+mn-ea"/>
                <a:cs typeface="+mn-cs"/>
              </a:rPr>
              <a:t>&gt; </a:t>
            </a:r>
            <a:endParaRPr lang="en-US" sz="900" kern="1200" baseline="0" dirty="0">
              <a:solidFill>
                <a:schemeClr val="tx1"/>
              </a:solidFill>
              <a:effectLst/>
              <a:latin typeface="+mn-lt"/>
              <a:ea typeface="+mn-ea"/>
              <a:cs typeface="+mn-cs"/>
            </a:endParaRPr>
          </a:p>
          <a:p>
            <a:pPr marL="310896" lvl="1" indent="0">
              <a:buFont typeface="+mj-lt"/>
              <a:buNone/>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dirty="0"/>
          </a:p>
        </p:txBody>
      </p:sp>
    </p:spTree>
    <p:extLst>
      <p:ext uri="{BB962C8B-B14F-4D97-AF65-F5344CB8AC3E}">
        <p14:creationId xmlns:p14="http://schemas.microsoft.com/office/powerpoint/2010/main" val="14306367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rgbClr val="2F2F2F"/>
                </a:solidFill>
                <a:effectLst/>
                <a:latin typeface="Segoe UI" panose="020B0502040204020203" pitchFamily="34" charset="0"/>
                <a:ea typeface="+mn-ea"/>
                <a:cs typeface="+mn-cs"/>
              </a:rPr>
              <a:t>There are some cases where having multiple files alone does not completely address PFS contention. For these cases, we have implemented a fix where we not only round robin between the files, we also round robin between the PFS pages within the files, allowing us to spread the object allocations across all the files and within the files themselves.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r>
              <a:rPr lang="en-US" b="0" i="0" dirty="0">
                <a:solidFill>
                  <a:srgbClr val="2F2F2F"/>
                </a:solidFill>
                <a:effectLst/>
                <a:latin typeface="Segoe UI" panose="020B0502040204020203" pitchFamily="34" charset="0"/>
              </a:rPr>
              <a:t>Over the past several SQL Server releases, Microsoft has </a:t>
            </a:r>
            <a:r>
              <a:rPr lang="en-US" sz="882" b="0" i="0" kern="1200" baseline="0" dirty="0">
                <a:solidFill>
                  <a:srgbClr val="2F2F2F"/>
                </a:solidFill>
                <a:effectLst/>
                <a:latin typeface="Segoe UI" panose="020B0502040204020203" pitchFamily="34" charset="0"/>
                <a:ea typeface="+mn-ea"/>
                <a:cs typeface="+mn-cs"/>
              </a:rPr>
              <a:t>improved</a:t>
            </a:r>
            <a:r>
              <a:rPr lang="en-US" b="0" i="0" dirty="0">
                <a:solidFill>
                  <a:srgbClr val="2F2F2F"/>
                </a:solidFill>
                <a:effectLst/>
                <a:latin typeface="Segoe UI" panose="020B0502040204020203" pitchFamily="34" charset="0"/>
              </a:rPr>
              <a:t> the concurrency and performance of the </a:t>
            </a:r>
            <a:r>
              <a:rPr lang="en-US" b="1" i="0" dirty="0">
                <a:solidFill>
                  <a:srgbClr val="2F2F2F"/>
                </a:solidFill>
                <a:effectLst/>
                <a:latin typeface="Segoe UI" panose="020B0502040204020203" pitchFamily="34" charset="0"/>
              </a:rPr>
              <a:t>tempdb </a:t>
            </a:r>
            <a:r>
              <a:rPr lang="en-US" b="0" i="0" dirty="0">
                <a:solidFill>
                  <a:srgbClr val="2F2F2F"/>
                </a:solidFill>
                <a:effectLst/>
                <a:latin typeface="Segoe UI" panose="020B0502040204020203" pitchFamily="34" charset="0"/>
              </a:rPr>
              <a:t>database. In </a:t>
            </a:r>
            <a:r>
              <a:rPr lang="en-US" b="0" i="0" u="sng" dirty="0">
                <a:effectLst/>
                <a:latin typeface="Segoe UI" panose="020B0502040204020203" pitchFamily="34" charset="0"/>
                <a:hlinkClick r:id="rId3"/>
              </a:rPr>
              <a:t>SQL Server 2022</a:t>
            </a:r>
            <a:r>
              <a:rPr lang="en-US" b="0" i="0" dirty="0">
                <a:solidFill>
                  <a:srgbClr val="2F2F2F"/>
                </a:solidFill>
                <a:effectLst/>
                <a:latin typeface="Segoe UI" panose="020B0502040204020203" pitchFamily="34" charset="0"/>
              </a:rPr>
              <a:t> we are addressing one of the last areas of contention by introducing concurrent global allocation map (GAM) and shared global allocation map (SGAM) updates which will give SQL Server 2022 a big improvement for scalability as </a:t>
            </a:r>
            <a:r>
              <a:rPr lang="en-US" b="1" i="0" dirty="0">
                <a:solidFill>
                  <a:srgbClr val="2F2F2F"/>
                </a:solidFill>
                <a:effectLst/>
                <a:latin typeface="Segoe UI" panose="020B0502040204020203" pitchFamily="34" charset="0"/>
              </a:rPr>
              <a:t>tempdb </a:t>
            </a:r>
            <a:r>
              <a:rPr lang="en-US" b="0" i="0" dirty="0">
                <a:solidFill>
                  <a:srgbClr val="2F2F2F"/>
                </a:solidFill>
                <a:effectLst/>
                <a:latin typeface="Segoe UI" panose="020B0502040204020203" pitchFamily="34" charset="0"/>
              </a:rPr>
              <a:t>is arguably the most important database in your environment.</a:t>
            </a:r>
            <a:endParaRPr lang="en-US" sz="882" i="1" kern="1200" baseline="0" dirty="0">
              <a:solidFill>
                <a:schemeClr val="tx1"/>
              </a:solidFill>
              <a:effectLst/>
              <a:latin typeface="+mn-lt"/>
              <a:ea typeface="+mn-ea"/>
              <a:cs typeface="+mn-cs"/>
            </a:endParaRPr>
          </a:p>
          <a:p>
            <a:r>
              <a:rPr lang="en-US" dirty="0">
                <a:hlinkClick r:id="rId4"/>
              </a:rPr>
              <a:t>Improve scalability with system page latch concurrency enhancements in SQL Server 2022 - Microsoft SQL Server Blog</a:t>
            </a:r>
            <a:endParaRPr lang="en-US" sz="882"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493892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The files for this Lab are located at E:\Labfiles\</a:t>
            </a:r>
            <a:r>
              <a:rPr lang="en-US" b="1" dirty="0"/>
              <a:t>M03L08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50798460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637831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Large row support</a:t>
            </a:r>
          </a:p>
          <a:p>
            <a:pPr algn="l"/>
            <a:r>
              <a:rPr lang="en-US" b="0" i="0" dirty="0">
                <a:solidFill>
                  <a:srgbClr val="E6E6E6"/>
                </a:solidFill>
                <a:effectLst/>
                <a:latin typeface="Segoe UI" panose="020B0502040204020203" pitchFamily="34" charset="0"/>
              </a:rPr>
              <a:t>Rows can't span pages; however, portions of the row may be moved off the row's page, so the row can be very large. The maximum amount of data and overhead that is contained in a single row on a page is 8,060 bytes. This doesn't include the data stored in the text/image page type.</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This restriction is relaxed for tables that contain </a:t>
            </a:r>
            <a:r>
              <a:rPr lang="en-US" b="1" i="0" dirty="0">
                <a:solidFill>
                  <a:srgbClr val="E6E6E6"/>
                </a:solidFill>
                <a:effectLst/>
                <a:latin typeface="Segoe UI" panose="020B0502040204020203" pitchFamily="34" charset="0"/>
              </a:rPr>
              <a:t>varchar</a:t>
            </a:r>
            <a:r>
              <a:rPr lang="en-US" b="0" i="0" dirty="0">
                <a:solidFill>
                  <a:srgbClr val="E6E6E6"/>
                </a:solidFill>
                <a:effectLst/>
                <a:latin typeface="Segoe UI" panose="020B0502040204020203" pitchFamily="34" charset="0"/>
              </a:rPr>
              <a:t>, </a:t>
            </a:r>
            <a:r>
              <a:rPr lang="en-US" b="1" i="0" dirty="0">
                <a:solidFill>
                  <a:srgbClr val="E6E6E6"/>
                </a:solidFill>
                <a:effectLst/>
                <a:latin typeface="Segoe UI" panose="020B0502040204020203" pitchFamily="34" charset="0"/>
              </a:rPr>
              <a:t>nvarchar</a:t>
            </a:r>
            <a:r>
              <a:rPr lang="en-US" b="0" i="0" dirty="0">
                <a:solidFill>
                  <a:srgbClr val="E6E6E6"/>
                </a:solidFill>
                <a:effectLst/>
                <a:latin typeface="Segoe UI" panose="020B0502040204020203" pitchFamily="34" charset="0"/>
              </a:rPr>
              <a:t>, </a:t>
            </a:r>
            <a:r>
              <a:rPr lang="en-US" b="1" i="0" dirty="0">
                <a:solidFill>
                  <a:srgbClr val="E6E6E6"/>
                </a:solidFill>
                <a:effectLst/>
                <a:latin typeface="Segoe UI" panose="020B0502040204020203" pitchFamily="34" charset="0"/>
              </a:rPr>
              <a:t>varbinary</a:t>
            </a:r>
            <a:r>
              <a:rPr lang="en-US" b="0" i="0" dirty="0">
                <a:solidFill>
                  <a:srgbClr val="E6E6E6"/>
                </a:solidFill>
                <a:effectLst/>
                <a:latin typeface="Segoe UI" panose="020B0502040204020203" pitchFamily="34" charset="0"/>
              </a:rPr>
              <a:t>, or </a:t>
            </a:r>
            <a:r>
              <a:rPr lang="en-US" b="1" i="0" dirty="0" err="1">
                <a:solidFill>
                  <a:srgbClr val="E6E6E6"/>
                </a:solidFill>
                <a:effectLst/>
                <a:latin typeface="Segoe UI" panose="020B0502040204020203" pitchFamily="34" charset="0"/>
              </a:rPr>
              <a:t>sql_variant</a:t>
            </a:r>
            <a:r>
              <a:rPr lang="en-US" b="0" i="0" dirty="0">
                <a:solidFill>
                  <a:srgbClr val="E6E6E6"/>
                </a:solidFill>
                <a:effectLst/>
                <a:latin typeface="Segoe UI" panose="020B0502040204020203" pitchFamily="34" charset="0"/>
              </a:rPr>
              <a:t> columns. When the total row size of all fixed and variable columns in a table exceeds the 8,060-byte limitation, SQL Server dynamically moves one or more variable length columns to pages in the </a:t>
            </a:r>
            <a:r>
              <a:rPr lang="en-US" b="1" i="0" dirty="0">
                <a:solidFill>
                  <a:srgbClr val="E6E6E6"/>
                </a:solidFill>
                <a:effectLst/>
                <a:latin typeface="Segoe UI" panose="020B0502040204020203" pitchFamily="34" charset="0"/>
              </a:rPr>
              <a:t>ROW_OVERFLOW_DATA </a:t>
            </a:r>
            <a:r>
              <a:rPr lang="en-US" b="0" i="0" dirty="0">
                <a:solidFill>
                  <a:srgbClr val="E6E6E6"/>
                </a:solidFill>
                <a:effectLst/>
                <a:latin typeface="Segoe UI" panose="020B0502040204020203" pitchFamily="34" charset="0"/>
              </a:rPr>
              <a:t>allocation unit, starting with the column with the largest width.</a:t>
            </a:r>
          </a:p>
          <a:p>
            <a:pPr algn="l"/>
            <a:r>
              <a:rPr lang="en-US" b="0" i="0" dirty="0">
                <a:solidFill>
                  <a:srgbClr val="E6E6E6"/>
                </a:solidFill>
                <a:effectLst/>
                <a:latin typeface="Segoe UI" panose="020B0502040204020203" pitchFamily="34" charset="0"/>
              </a:rPr>
              <a:t>This is done whenever an insert or update operation increases the total size of the row beyond the 8,060-byte limit. When a column is moved to a page in the </a:t>
            </a:r>
            <a:r>
              <a:rPr lang="en-US" b="1" i="0" dirty="0">
                <a:solidFill>
                  <a:srgbClr val="E6E6E6"/>
                </a:solidFill>
                <a:effectLst/>
                <a:latin typeface="Segoe UI" panose="020B0502040204020203" pitchFamily="34" charset="0"/>
              </a:rPr>
              <a:t>ROW_OVERFLOW_DATA </a:t>
            </a:r>
            <a:r>
              <a:rPr lang="en-US" b="0" i="0" dirty="0">
                <a:solidFill>
                  <a:srgbClr val="E6E6E6"/>
                </a:solidFill>
                <a:effectLst/>
                <a:latin typeface="Segoe UI" panose="020B0502040204020203" pitchFamily="34" charset="0"/>
              </a:rPr>
              <a:t>allocation unit, a 24-byte pointer on the original page in the </a:t>
            </a:r>
            <a:r>
              <a:rPr lang="en-US" b="1" i="0" dirty="0">
                <a:solidFill>
                  <a:srgbClr val="E6E6E6"/>
                </a:solidFill>
                <a:effectLst/>
                <a:latin typeface="Segoe UI" panose="020B0502040204020203" pitchFamily="34" charset="0"/>
              </a:rPr>
              <a:t>IN_ROW_DATA </a:t>
            </a:r>
            <a:r>
              <a:rPr lang="en-US" b="0" i="0" dirty="0">
                <a:solidFill>
                  <a:srgbClr val="E6E6E6"/>
                </a:solidFill>
                <a:effectLst/>
                <a:latin typeface="Segoe UI" panose="020B0502040204020203" pitchFamily="34" charset="0"/>
              </a:rPr>
              <a:t>allocation unit is maintained. If a subsequent operation reduces the row size, SQL Server dynamically moves the columns back to the original data page.</a:t>
            </a:r>
          </a:p>
          <a:p>
            <a:pPr algn="l"/>
            <a:endParaRPr lang="en-US" b="0" i="0" dirty="0">
              <a:solidFill>
                <a:srgbClr val="E6E6E6"/>
              </a:solidFill>
              <a:effectLst/>
              <a:latin typeface="Segoe UI" panose="020B0502040204020203" pitchFamily="34" charset="0"/>
            </a:endParaRPr>
          </a:p>
          <a:p>
            <a:pPr algn="l"/>
            <a:r>
              <a:rPr lang="en-US" b="0" i="0" dirty="0">
                <a:solidFill>
                  <a:srgbClr val="000000"/>
                </a:solidFill>
                <a:effectLst/>
                <a:latin typeface="wf_segoe-ui_normal"/>
              </a:rPr>
              <a:t>If a table contains the </a:t>
            </a:r>
            <a:r>
              <a:rPr lang="en-US" b="1" i="0" dirty="0">
                <a:solidFill>
                  <a:srgbClr val="000000"/>
                </a:solidFill>
                <a:effectLst/>
                <a:latin typeface="wf_segoe-ui_normal"/>
              </a:rPr>
              <a:t>LOB_DATA </a:t>
            </a:r>
            <a:r>
              <a:rPr lang="en-US" b="0" i="0" dirty="0">
                <a:solidFill>
                  <a:srgbClr val="000000"/>
                </a:solidFill>
                <a:effectLst/>
                <a:latin typeface="wf_segoe-ui_normal"/>
              </a:rPr>
              <a:t>types (</a:t>
            </a:r>
            <a:r>
              <a:rPr lang="en-US" b="0" i="1" dirty="0">
                <a:solidFill>
                  <a:srgbClr val="000000"/>
                </a:solidFill>
                <a:effectLst/>
                <a:latin typeface="wf_segoe-ui_normal"/>
              </a:rPr>
              <a:t>text, </a:t>
            </a:r>
            <a:r>
              <a:rPr lang="en-US" b="0" i="1" dirty="0" err="1">
                <a:solidFill>
                  <a:srgbClr val="000000"/>
                </a:solidFill>
                <a:effectLst/>
                <a:latin typeface="wf_segoe-ui_normal"/>
              </a:rPr>
              <a:t>ntext</a:t>
            </a:r>
            <a:r>
              <a:rPr lang="en-US" b="0" i="0" dirty="0">
                <a:solidFill>
                  <a:srgbClr val="000000"/>
                </a:solidFill>
                <a:effectLst/>
                <a:latin typeface="wf_segoe-ui_normal"/>
              </a:rPr>
              <a:t>, or </a:t>
            </a:r>
            <a:r>
              <a:rPr lang="en-US" b="0" i="1" dirty="0">
                <a:solidFill>
                  <a:srgbClr val="000000"/>
                </a:solidFill>
                <a:effectLst/>
                <a:latin typeface="wf_segoe-ui_normal"/>
              </a:rPr>
              <a:t>image</a:t>
            </a:r>
            <a:r>
              <a:rPr lang="en-US" b="0" i="0" dirty="0">
                <a:solidFill>
                  <a:srgbClr val="000000"/>
                </a:solidFill>
                <a:effectLst/>
                <a:latin typeface="wf_segoe-ui_normal"/>
              </a:rPr>
              <a:t> types), by default the actual data isn’t stored on the regular data pages. Like row-overflow data, LOB data is stored in its own set of pages, and the allocation query shows you pages for LOB data as well as pages for regular in-row data and row-overflow data. For LOB columns, SQL Server stores a 16-byte pointer in the data row that indicates where the actual data can be found. Although the default behavior is to store all the LOB data off the data row, SQL Server allows you to change the storage mechanism by setting a table option to allow LOB data to be stored in the data row itself if it is small enough. Note that no database or server setting is available to control storing small LOB columns on the data pages; it’s managed as a table option.</a:t>
            </a:r>
            <a:endParaRPr lang="en-US" b="0" i="0" dirty="0">
              <a:solidFill>
                <a:srgbClr val="E6E6E6"/>
              </a:solidFill>
              <a:effectLst/>
              <a:latin typeface="Segoe UI" panose="020B0502040204020203" pitchFamily="34" charset="0"/>
            </a:endParaRPr>
          </a:p>
          <a:p>
            <a:pPr algn="l"/>
            <a:endParaRPr lang="en-US" b="1" i="0" dirty="0">
              <a:solidFill>
                <a:srgbClr val="E6E6E6"/>
              </a:solidFill>
              <a:effectLst/>
              <a:latin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18277376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1) What is stored in TempDB?</a:t>
            </a:r>
          </a:p>
          <a:p>
            <a:pPr lvl="0"/>
            <a:r>
              <a:rPr lang="en-US" baseline="0" dirty="0"/>
              <a:t>A1) Temporary user objects, like:</a:t>
            </a:r>
            <a:endParaRPr lang="en-US" dirty="0"/>
          </a:p>
          <a:p>
            <a:pPr lvl="1"/>
            <a:r>
              <a:rPr lang="en-US" baseline="0" dirty="0"/>
              <a:t>Global or local temporary tables and indexes</a:t>
            </a:r>
            <a:endParaRPr lang="en-US" dirty="0"/>
          </a:p>
          <a:p>
            <a:pPr lvl="1"/>
            <a:r>
              <a:rPr lang="en-US" baseline="0" dirty="0"/>
              <a:t>Temporary stored procedures</a:t>
            </a:r>
            <a:endParaRPr lang="en-US" dirty="0"/>
          </a:p>
          <a:p>
            <a:pPr lvl="1"/>
            <a:r>
              <a:rPr lang="en-US" baseline="0" dirty="0"/>
              <a:t>Table variables</a:t>
            </a:r>
            <a:endParaRPr lang="en-US" dirty="0"/>
          </a:p>
          <a:p>
            <a:pPr lvl="1"/>
            <a:r>
              <a:rPr lang="en-US" baseline="0" dirty="0"/>
              <a:t>Tables returned in table-valued functions, or cursors</a:t>
            </a:r>
            <a:endParaRPr lang="en-US" dirty="0"/>
          </a:p>
          <a:p>
            <a:pPr lvl="0"/>
            <a:r>
              <a:rPr lang="en-US" baseline="0" dirty="0"/>
              <a:t>Internal objects </a:t>
            </a:r>
            <a:endParaRPr lang="en-US" dirty="0"/>
          </a:p>
          <a:p>
            <a:pPr lvl="1"/>
            <a:r>
              <a:rPr lang="en-US" baseline="0" dirty="0"/>
              <a:t>Worktables to store intermediate results for spools, cursors, sorts, and temporary LOB storage.</a:t>
            </a:r>
            <a:endParaRPr lang="en-US" dirty="0"/>
          </a:p>
          <a:p>
            <a:pPr lvl="1"/>
            <a:r>
              <a:rPr lang="en-US" baseline="0" dirty="0"/>
              <a:t>Work files for hash join or hash aggregate operations.</a:t>
            </a:r>
            <a:endParaRPr lang="en-US" dirty="0"/>
          </a:p>
          <a:p>
            <a:pPr lvl="1"/>
            <a:r>
              <a:rPr lang="en-US" baseline="0" dirty="0"/>
              <a:t>Intermediate sort results for operations such as creating or rebuilding indexes (if SORT_IN_TEMPDB is specified), or certain GROUP BY, ORDER BY, or UNION queries.</a:t>
            </a:r>
            <a:endParaRPr lang="en-US" dirty="0"/>
          </a:p>
          <a:p>
            <a:pPr lvl="0"/>
            <a:r>
              <a:rPr lang="en-US" baseline="0" dirty="0"/>
              <a:t>Version stores </a:t>
            </a:r>
            <a:endParaRPr lang="en-US" dirty="0"/>
          </a:p>
          <a:p>
            <a:pPr lvl="1"/>
            <a:r>
              <a:rPr lang="en-US" baseline="0" dirty="0"/>
              <a:t>Common version store.</a:t>
            </a:r>
            <a:endParaRPr lang="en-US" dirty="0"/>
          </a:p>
          <a:p>
            <a:pPr lvl="1"/>
            <a:r>
              <a:rPr lang="en-US" baseline="0" dirty="0"/>
              <a:t>Online-index-build version store. </a:t>
            </a:r>
            <a:endParaRPr lang="en-US" dirty="0"/>
          </a:p>
          <a:p>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2) How can you boost performance in TempDB?</a:t>
            </a:r>
          </a:p>
          <a:p>
            <a:r>
              <a:rPr lang="en-US" dirty="0"/>
              <a:t>A2) </a:t>
            </a:r>
            <a:r>
              <a:rPr lang="en-US" sz="900" baseline="0" dirty="0"/>
              <a:t>Consider:</a:t>
            </a:r>
          </a:p>
          <a:p>
            <a:pPr lvl="1"/>
            <a:r>
              <a:rPr lang="en-US" sz="900" baseline="0" dirty="0"/>
              <a:t>Instant file initialization</a:t>
            </a:r>
            <a:endParaRPr lang="en-US" sz="900" dirty="0"/>
          </a:p>
          <a:p>
            <a:pPr lvl="1"/>
            <a:r>
              <a:rPr lang="en-US" sz="900" baseline="0" dirty="0"/>
              <a:t>Pre-allocate space for all TempDB files</a:t>
            </a:r>
            <a:endParaRPr lang="en-US" sz="900" dirty="0"/>
          </a:p>
          <a:p>
            <a:pPr lvl="1"/>
            <a:r>
              <a:rPr lang="en-US" sz="900" baseline="0" dirty="0"/>
              <a:t>Divide TempDB into multiple data files of equal size</a:t>
            </a:r>
            <a:endParaRPr lang="en-US" sz="900" dirty="0"/>
          </a:p>
          <a:p>
            <a:pPr lvl="1"/>
            <a:r>
              <a:rPr lang="en-US" sz="900" baseline="0" dirty="0"/>
              <a:t>Put the TempDB database on a fast I/O subsystem</a:t>
            </a:r>
            <a:endParaRPr lang="en-US" sz="900" dirty="0"/>
          </a:p>
          <a:p>
            <a:pPr lvl="1"/>
            <a:r>
              <a:rPr lang="en-US" sz="900" baseline="0" dirty="0"/>
              <a:t>Use disk striping if there are many directly attached disks</a:t>
            </a:r>
            <a:endParaRPr lang="en-US" sz="900" dirty="0"/>
          </a:p>
          <a:p>
            <a:pPr lvl="1"/>
            <a:r>
              <a:rPr lang="en-US" sz="900" baseline="0" dirty="0"/>
              <a:t>Put the TempDB database on separate disks from user databases</a:t>
            </a:r>
            <a:endParaRPr lang="en-US" sz="900"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dirty="0"/>
          </a:p>
        </p:txBody>
      </p:sp>
    </p:spTree>
    <p:extLst>
      <p:ext uri="{BB962C8B-B14F-4D97-AF65-F5344CB8AC3E}">
        <p14:creationId xmlns:p14="http://schemas.microsoft.com/office/powerpoint/2010/main" val="10795403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dirty="0"/>
          </a:p>
        </p:txBody>
      </p:sp>
    </p:spTree>
    <p:extLst>
      <p:ext uri="{BB962C8B-B14F-4D97-AF65-F5344CB8AC3E}">
        <p14:creationId xmlns:p14="http://schemas.microsoft.com/office/powerpoint/2010/main" val="9031184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800470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Having more than one log file per database is possible, but it is not recommended. </a:t>
            </a:r>
            <a:br>
              <a:rPr lang="en-US" sz="900" dirty="0"/>
            </a:br>
            <a:r>
              <a:rPr lang="en-US" sz="900" dirty="0"/>
              <a:t>Log files are written to a single file sequentially, so multiple log files will not provide any performance benefi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0</a:t>
            </a:fld>
            <a:endParaRPr lang="en-US" noProof="0" dirty="0"/>
          </a:p>
        </p:txBody>
      </p:sp>
    </p:spTree>
    <p:extLst>
      <p:ext uri="{BB962C8B-B14F-4D97-AF65-F5344CB8AC3E}">
        <p14:creationId xmlns:p14="http://schemas.microsoft.com/office/powerpoint/2010/main" val="15989001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chemeClr val="tx1"/>
                </a:solidFill>
                <a:effectLst/>
                <a:latin typeface="Segoe UI Light" pitchFamily="34" charset="0"/>
                <a:ea typeface="+mn-ea"/>
                <a:cs typeface="+mn-cs"/>
              </a:rPr>
              <a:t>The transaction log in a database maps over one or more physical files, which are separate from the data files containing data pages. Logically, the log file is a string of log records that track modifications made to the database. Each log record is identified by a log sequence number (LSN). Each new log record is written to the logical end of the log with an LSN that is higher than the LSN of the record before it. Each log record contains the ID of the transaction that it belongs to. For each transaction, all log records associated with the transaction are linked in a chain using backward pointers for fast recovery. Many types of operations are recorded in the transaction log including:</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Start and end of each transaction</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All data modifications</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Extent and page allocation or deallocation</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Creating and dropping objects</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Log records for data modification record either the logical operation performed, or they record the before and after images of the modified data. The before image is a copy of the data before the operation is performed and the after image is a copy of the data after the operation has been performed.</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Each transaction reserves space on the transaction log to make sure enough log space is available to support a rollback of the transaction. Generally, this space is equal to the amount of space required to log each operation and is freed when the transaction is completed.</a:t>
            </a:r>
            <a:endParaRPr lang="en-US" dirty="0"/>
          </a:p>
          <a:p>
            <a:endParaRPr lang="en-US" dirty="0"/>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dirty="0"/>
          </a:p>
        </p:txBody>
      </p:sp>
    </p:spTree>
    <p:extLst>
      <p:ext uri="{BB962C8B-B14F-4D97-AF65-F5344CB8AC3E}">
        <p14:creationId xmlns:p14="http://schemas.microsoft.com/office/powerpoint/2010/main" val="25755549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ider a scenario where an Insert/Update/Delete operation is being performed on a SQL Server table. How does SQL Server log this information in the transaction logs and later use it for recovery purposes. In this slide, we would talk about the high level overview of the operations (logging related) which happen when a record is Inserted/Deleted/Updated in a table.</a:t>
            </a:r>
          </a:p>
          <a:p>
            <a:pPr lvl="1"/>
            <a:r>
              <a:rPr lang="en-US" dirty="0"/>
              <a:t>Mark the beginning of the transaction in the Log Buffer (60 KB).</a:t>
            </a:r>
          </a:p>
          <a:p>
            <a:pPr lvl="1"/>
            <a:r>
              <a:rPr lang="en-US" dirty="0"/>
              <a:t>Log details about the nature of the transaction in the Log Buffer.</a:t>
            </a:r>
          </a:p>
          <a:p>
            <a:pPr lvl="1"/>
            <a:r>
              <a:rPr lang="en-US" dirty="0"/>
              <a:t>Read the page from the disk, where the operation needs to be performed (Page Latch/Locking).</a:t>
            </a:r>
          </a:p>
          <a:p>
            <a:pPr lvl="1"/>
            <a:r>
              <a:rPr lang="en-US" dirty="0"/>
              <a:t>Perform the modification (Page marked Dirty**/Latching/Locking).</a:t>
            </a:r>
          </a:p>
          <a:p>
            <a:pPr lvl="1"/>
            <a:r>
              <a:rPr lang="en-US" dirty="0"/>
              <a:t>Commit the transaction. During the commit flush, the log buffer to the LDF file (Log buffer could also be flushed if it is full, without having to wait from the commit) as a Synchronous process. After the write to the LDF file has been performed, send acknowledgement to the client/user.</a:t>
            </a:r>
          </a:p>
          <a:p>
            <a:endParaRPr lang="en-US" dirty="0"/>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2</a:t>
            </a:fld>
            <a:endParaRPr lang="en-US" noProof="0" dirty="0"/>
          </a:p>
        </p:txBody>
      </p:sp>
    </p:spTree>
    <p:extLst>
      <p:ext uri="{BB962C8B-B14F-4D97-AF65-F5344CB8AC3E}">
        <p14:creationId xmlns:p14="http://schemas.microsoft.com/office/powerpoint/2010/main" val="9940635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database page has an LSN in the page header that reflects the location in the transaction log of the last log entry that modified a row on that page. Each log record that represents changes to a data page has two LSNs associated with it. In addition to the LSN for the actual log record, it keeps track of the LSN that was on the data page before the change recorded by this log record. During a redo operation of transactions, the LSN for each log record is compared to the page LSN of the data page that the log entry modified. If the page LSN is equal to the previous page LSN in the log record, the operation indicated in the log entry is redone. If the LSN on the page is equal to or higher than the actual LSN for this log record, SQL Server database skips the REDO operation. </a:t>
            </a:r>
          </a:p>
          <a:p>
            <a:r>
              <a:rPr lang="en-US" dirty="0"/>
              <a:t>As recovery finds the last checkpoint record in the log (also, transactions that were still active at the time of the checkpoint) and proceeds from there, recovery time is short, and all changes committed before the checkpoint can be purged from the log or archived. Otherwise, recovery can take a long time and transaction logs can become unreasonably large. A transaction log cannot be truncated before the point of the earliest transaction that is still open, no matter how many checkpoints have occurred since the transaction started and how many other transactions have started or completed. If a transaction remains open, the log must be preserved because it is still not clear whether the transaction is done or ever will be done. The transaction might ultimately need to be rolled back or rolled forward.</a:t>
            </a:r>
          </a:p>
          <a:p>
            <a:endParaRPr lang="en-US" dirty="0"/>
          </a:p>
          <a:p>
            <a:r>
              <a:rPr lang="en-US" b="1" dirty="0"/>
              <a:t>Reference:</a:t>
            </a:r>
          </a:p>
          <a:p>
            <a:pPr lvl="1"/>
            <a:r>
              <a:rPr lang="en-US" dirty="0">
                <a:solidFill>
                  <a:srgbClr val="FF0000"/>
                </a:solidFill>
              </a:rPr>
              <a:t>Microsoft SQL Server 2012 Internals </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3</a:t>
            </a:fld>
            <a:endParaRPr lang="en-US" noProof="0" dirty="0"/>
          </a:p>
        </p:txBody>
      </p:sp>
    </p:spTree>
    <p:extLst>
      <p:ext uri="{BB962C8B-B14F-4D97-AF65-F5344CB8AC3E}">
        <p14:creationId xmlns:p14="http://schemas.microsoft.com/office/powerpoint/2010/main" val="31224439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SQL Server divides each physical log file internally into a number of virtual log files (VLFs) containing log records. VLFs have no fixed size, and there is no fixed number of virtual log files for a physical log file. The size of the virtual log files is determined dynamically by SQL Server when creating or extending the physical log files. SQL Server tries to maintain a small number of VLFs for the best performance. The size or number of virtual log files cannot be configured or set by system administrators, but it can be influenced by the initial creation of the transaction log file and the subsequent growth of that file.</a:t>
            </a:r>
          </a:p>
          <a:p>
            <a:endParaRPr lang="en-US" dirty="0"/>
          </a:p>
          <a:p>
            <a:r>
              <a:rPr lang="en-US" dirty="0"/>
              <a:t>When creating or growing a transaction log file, the size and number of the VLFs is determined by the size of the piece being added to the file as follows:</a:t>
            </a:r>
          </a:p>
          <a:p>
            <a:pPr marL="628650" lvl="1" indent="-171450">
              <a:buFont typeface="Arial" pitchFamily="34" charset="0"/>
              <a:buChar char="•"/>
            </a:pPr>
            <a:r>
              <a:rPr lang="en-US" dirty="0"/>
              <a:t>Less than 64 MB = 4 VLFs </a:t>
            </a:r>
          </a:p>
          <a:p>
            <a:pPr marL="628650" lvl="1" indent="-171450">
              <a:buFont typeface="Arial" pitchFamily="34" charset="0"/>
              <a:buChar char="•"/>
            </a:pPr>
            <a:r>
              <a:rPr lang="en-US" dirty="0"/>
              <a:t>Greater than 64 MB and less than 1 GB = 8 VLFs </a:t>
            </a:r>
          </a:p>
          <a:p>
            <a:pPr marL="628650" lvl="1" indent="-171450">
              <a:buFont typeface="Arial" pitchFamily="34" charset="0"/>
              <a:buChar char="•"/>
            </a:pPr>
            <a:r>
              <a:rPr lang="en-US" dirty="0"/>
              <a:t>Greater than or equal to 1 GB = 16 VLFs</a:t>
            </a:r>
          </a:p>
          <a:p>
            <a:endParaRPr lang="en-US" dirty="0"/>
          </a:p>
          <a:p>
            <a:r>
              <a:rPr lang="en-US" dirty="0"/>
              <a:t>For example, if you initially create a 1 GB transaction log file, it will be divided into 16 64 MB VLFs. With the default auto-growth setting of 10%, the first auto-grow would add 102.4 MB of space in the form of eight 12.8 MB VLFs and so on.</a:t>
            </a:r>
          </a:p>
          <a:p>
            <a:endParaRPr lang="en-US" dirty="0"/>
          </a:p>
          <a:p>
            <a:r>
              <a:rPr lang="en-US" dirty="0">
                <a:hlinkClick r:id="rId3"/>
              </a:rPr>
              <a:t>http://www.sqlskills.com/BLOGS/KIMBERLY/post/Transaction-Log-VLFs-too-many-or-too-few.aspx</a:t>
            </a: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4</a:t>
            </a:fld>
            <a:endParaRPr lang="en-US" noProof="0" dirty="0"/>
          </a:p>
        </p:txBody>
      </p:sp>
    </p:spTree>
    <p:extLst>
      <p:ext uri="{BB962C8B-B14F-4D97-AF65-F5344CB8AC3E}">
        <p14:creationId xmlns:p14="http://schemas.microsoft.com/office/powerpoint/2010/main" val="10468458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Additionally, avoid having too big\ too few VLF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Checking the SQL Server Error Log - </a:t>
            </a:r>
            <a:r>
              <a:rPr lang="en-US" sz="800" kern="1200" dirty="0">
                <a:solidFill>
                  <a:schemeClr val="tx1"/>
                </a:solidFill>
                <a:latin typeface="Segoe UI Light"/>
                <a:ea typeface="+mn-ea"/>
                <a:cs typeface="+mn-cs"/>
              </a:rPr>
              <a:t>xp_readerrorlog 0,1,N'VLF'</a:t>
            </a: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Reference:</a:t>
            </a:r>
            <a:r>
              <a:rPr lang="en-US" baseline="0" dirty="0"/>
              <a:t> </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r>
              <a:rPr lang="en-US" sz="882" kern="1200" baseline="0" dirty="0">
                <a:solidFill>
                  <a:schemeClr val="tx1"/>
                </a:solidFill>
                <a:effectLst/>
                <a:latin typeface="+mn-lt"/>
                <a:ea typeface="+mn-ea"/>
                <a:cs typeface="+mn-cs"/>
              </a:rPr>
              <a:t>Transaction Log Physical Architectur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physical_arch</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dirty="0"/>
          </a:p>
        </p:txBody>
      </p:sp>
    </p:spTree>
    <p:extLst>
      <p:ext uri="{BB962C8B-B14F-4D97-AF65-F5344CB8AC3E}">
        <p14:creationId xmlns:p14="http://schemas.microsoft.com/office/powerpoint/2010/main" val="37313689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or SQL Server 2014</a:t>
            </a:r>
            <a:r>
              <a:rPr lang="en-US" dirty="0"/>
              <a:t>, the algorithm is now:</a:t>
            </a:r>
          </a:p>
          <a:p>
            <a:r>
              <a:rPr lang="en-US" dirty="0"/>
              <a:t>Is the growth size less than 1/8 the size of the current log size?</a:t>
            </a:r>
          </a:p>
          <a:p>
            <a:r>
              <a:rPr lang="en-US" dirty="0"/>
              <a:t>Yes: create 1 new VLF equal to the growth size</a:t>
            </a:r>
          </a:p>
          <a:p>
            <a:r>
              <a:rPr lang="en-US" dirty="0"/>
              <a:t>No: use the previous formula</a:t>
            </a:r>
          </a:p>
          <a:p>
            <a:endParaRPr lang="en-US" dirty="0"/>
          </a:p>
          <a:p>
            <a:r>
              <a:rPr lang="en-US" dirty="0"/>
              <a:t>Reference:</a:t>
            </a:r>
          </a:p>
          <a:p>
            <a:r>
              <a:rPr lang="en-US" dirty="0"/>
              <a:t>http://www.sqlskills.com/blogs/paul/important-change-vlf-creation-algorithm-sql-server-2014/</a:t>
            </a:r>
          </a:p>
          <a:p>
            <a:pPr marL="0" indent="0">
              <a:buNone/>
            </a:pPr>
            <a:endParaRPr lang="en-US" b="1" dirty="0"/>
          </a:p>
          <a:p>
            <a:pPr marL="0" indent="0">
              <a:buNone/>
            </a:pPr>
            <a:r>
              <a:rPr lang="en-US" b="1" dirty="0"/>
              <a:t>Key Points:</a:t>
            </a:r>
            <a:endParaRPr lang="en-US" dirty="0"/>
          </a:p>
          <a:p>
            <a:r>
              <a:rPr lang="en-US" dirty="0"/>
              <a:t>Fixing involves getting your t-log to a minimum size (and thus VLF number) and growing in pre-determined growth iterations until you reach the desired state, with VLFs no larger than 512 MB. </a:t>
            </a:r>
          </a:p>
          <a:p>
            <a:r>
              <a:rPr lang="en-US" dirty="0"/>
              <a:t>As a less conventional solution, but one that works, create a database snapshot and then revert to it. This deletes the t-log and creates a small log with two small VLFs. This is a bug that has been active since the Microsoft SQL Server 2005 product, but be aware it breaks your log backup chain.</a:t>
            </a:r>
          </a:p>
          <a:p>
            <a:endParaRPr lang="en-US" dirty="0"/>
          </a:p>
          <a:p>
            <a:pPr marL="0" indent="0">
              <a:buNone/>
            </a:pPr>
            <a:r>
              <a:rPr lang="en-US" b="1" dirty="0"/>
              <a:t>Additional Reading:</a:t>
            </a:r>
            <a:endParaRPr lang="en-US" dirty="0"/>
          </a:p>
          <a:p>
            <a:r>
              <a:rPr lang="en-US" b="1" dirty="0"/>
              <a:t>For more information</a:t>
            </a:r>
            <a:r>
              <a:rPr lang="en-US" dirty="0"/>
              <a:t>, see: </a:t>
            </a:r>
            <a:r>
              <a:rPr lang="en-US" b="1" dirty="0"/>
              <a:t>VLF Posts</a:t>
            </a:r>
            <a:r>
              <a:rPr lang="en-US" dirty="0"/>
              <a:t> - </a:t>
            </a:r>
            <a:r>
              <a:rPr lang="en-US" u="sng" dirty="0">
                <a:hlinkClick r:id="rId3"/>
              </a:rPr>
              <a:t>http://blogs.msdn.com/b/blogdoezequiel/archive/tags/vlf</a:t>
            </a:r>
            <a:endParaRPr lang="en-US" dirty="0"/>
          </a:p>
          <a:p>
            <a:r>
              <a:rPr lang="en-US" b="1" dirty="0"/>
              <a:t>For more information</a:t>
            </a:r>
            <a:r>
              <a:rPr lang="en-US" dirty="0"/>
              <a:t>, see: </a:t>
            </a:r>
            <a:r>
              <a:rPr lang="en-US" b="1" dirty="0"/>
              <a:t>Can log files growth affect DML? Post-CU Update</a:t>
            </a:r>
            <a:r>
              <a:rPr lang="en-US" dirty="0"/>
              <a:t> -</a:t>
            </a:r>
            <a:r>
              <a:rPr lang="en-US" u="sng" dirty="0">
                <a:hlinkClick r:id="rId4"/>
              </a:rPr>
              <a:t>http://blogs.msdn.com/b/blogdoezequiel/archive/2011/04/26/can-log-files-growth-affect-dml-post-cu6-update.aspx</a:t>
            </a:r>
            <a:endParaRPr lang="en-US" dirty="0"/>
          </a:p>
          <a:p>
            <a:r>
              <a:rPr lang="en-US" b="1" dirty="0"/>
              <a:t>For more information</a:t>
            </a:r>
            <a:r>
              <a:rPr lang="en-US" dirty="0"/>
              <a:t>, see: </a:t>
            </a:r>
            <a:r>
              <a:rPr lang="en-US" b="1" dirty="0"/>
              <a:t>Fixing VLFs</a:t>
            </a:r>
            <a:r>
              <a:rPr lang="en-US" dirty="0"/>
              <a:t> - </a:t>
            </a:r>
            <a:r>
              <a:rPr lang="en-US" u="sng" dirty="0">
                <a:hlinkClick r:id="rId5"/>
              </a:rPr>
              <a:t>http://blogs.msdn.com/b/blogdoezequiel/archive/2011/05/24/sql-swiss-army-knife-9-vlfs-revisited.aspx</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6</a:t>
            </a:fld>
            <a:endParaRPr lang="en-US" noProof="0" dirty="0"/>
          </a:p>
        </p:txBody>
      </p:sp>
    </p:spTree>
    <p:extLst>
      <p:ext uri="{BB962C8B-B14F-4D97-AF65-F5344CB8AC3E}">
        <p14:creationId xmlns:p14="http://schemas.microsoft.com/office/powerpoint/2010/main" val="4161661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22222"/>
                </a:solidFill>
                <a:effectLst/>
                <a:latin typeface="Roboto Slab" pitchFamily="2" charset="0"/>
              </a:rPr>
              <a:t>Investigating Page Contents Using DBCC Commands</a:t>
            </a:r>
          </a:p>
          <a:p>
            <a:pPr algn="l"/>
            <a:r>
              <a:rPr lang="en-US" b="0" i="0" dirty="0">
                <a:solidFill>
                  <a:srgbClr val="373737"/>
                </a:solidFill>
                <a:effectLst/>
                <a:latin typeface="Roboto" panose="02000000000000000000" pitchFamily="2" charset="0"/>
              </a:rPr>
              <a:t>We can use the following undocumented DBCC commands to take a look inside our data and index pages: </a:t>
            </a:r>
            <a:r>
              <a:rPr lang="en-US" b="1" i="0" dirty="0">
                <a:solidFill>
                  <a:srgbClr val="373737"/>
                </a:solidFill>
                <a:effectLst/>
                <a:latin typeface="Roboto" panose="02000000000000000000" pitchFamily="2" charset="0"/>
              </a:rPr>
              <a:t>DBCC IND</a:t>
            </a:r>
            <a:r>
              <a:rPr lang="en-US" b="0" i="0" dirty="0">
                <a:solidFill>
                  <a:srgbClr val="373737"/>
                </a:solidFill>
                <a:effectLst/>
                <a:latin typeface="Roboto" panose="02000000000000000000" pitchFamily="2" charset="0"/>
              </a:rPr>
              <a:t>,  </a:t>
            </a:r>
            <a:r>
              <a:rPr lang="en-US" b="1" i="0" dirty="0">
                <a:solidFill>
                  <a:srgbClr val="373737"/>
                </a:solidFill>
                <a:effectLst/>
                <a:latin typeface="Roboto" panose="02000000000000000000" pitchFamily="2" charset="0"/>
              </a:rPr>
              <a:t>DBCC TRACEON</a:t>
            </a:r>
            <a:r>
              <a:rPr lang="en-US" b="0" i="0" dirty="0">
                <a:solidFill>
                  <a:srgbClr val="373737"/>
                </a:solidFill>
                <a:effectLst/>
                <a:latin typeface="Roboto" panose="02000000000000000000" pitchFamily="2" charset="0"/>
              </a:rPr>
              <a:t>, and </a:t>
            </a:r>
            <a:r>
              <a:rPr lang="en-US" b="1" i="0" dirty="0">
                <a:solidFill>
                  <a:srgbClr val="373737"/>
                </a:solidFill>
                <a:effectLst/>
                <a:latin typeface="Roboto" panose="02000000000000000000" pitchFamily="2" charset="0"/>
              </a:rPr>
              <a:t>DBCC PAGE</a:t>
            </a:r>
            <a:r>
              <a:rPr lang="en-US" b="0" i="0" dirty="0">
                <a:solidFill>
                  <a:srgbClr val="373737"/>
                </a:solidFill>
                <a:effectLst/>
                <a:latin typeface="Roboto" panose="02000000000000000000" pitchFamily="2" charset="0"/>
              </a:rPr>
              <a:t>. </a:t>
            </a:r>
          </a:p>
          <a:p>
            <a:pPr algn="l"/>
            <a:endParaRPr lang="en-US" b="0" i="0" dirty="0">
              <a:solidFill>
                <a:srgbClr val="373737"/>
              </a:solidFill>
              <a:effectLst/>
              <a:latin typeface="Roboto" panose="02000000000000000000" pitchFamily="2" charset="0"/>
            </a:endParaRPr>
          </a:p>
          <a:p>
            <a:pPr algn="l"/>
            <a:r>
              <a:rPr lang="en-US" b="1" i="0" dirty="0">
                <a:solidFill>
                  <a:srgbClr val="373737"/>
                </a:solidFill>
                <a:effectLst/>
                <a:latin typeface="Roboto" panose="02000000000000000000" pitchFamily="2" charset="0"/>
              </a:rPr>
              <a:t>DBCC IND </a:t>
            </a:r>
            <a:r>
              <a:rPr lang="en-US" b="0" i="0" dirty="0">
                <a:solidFill>
                  <a:srgbClr val="373737"/>
                </a:solidFill>
                <a:effectLst/>
                <a:latin typeface="Roboto" panose="02000000000000000000" pitchFamily="2" charset="0"/>
              </a:rPr>
              <a:t>provides the relevant page IDs for any object in the database, and then </a:t>
            </a:r>
            <a:r>
              <a:rPr lang="en-US" b="1" i="0" dirty="0">
                <a:solidFill>
                  <a:srgbClr val="373737"/>
                </a:solidFill>
                <a:effectLst/>
                <a:latin typeface="Roboto" panose="02000000000000000000" pitchFamily="2" charset="0"/>
              </a:rPr>
              <a:t>DBCC PAGE </a:t>
            </a:r>
            <a:r>
              <a:rPr lang="en-US" b="0" i="0" dirty="0">
                <a:solidFill>
                  <a:srgbClr val="373737"/>
                </a:solidFill>
                <a:effectLst/>
                <a:latin typeface="Roboto" panose="02000000000000000000" pitchFamily="2" charset="0"/>
              </a:rPr>
              <a:t>allows us to investigate what’s stored on disk on those specific pages. Note that </a:t>
            </a:r>
            <a:r>
              <a:rPr lang="en-US" b="1" i="0" dirty="0">
                <a:solidFill>
                  <a:srgbClr val="373737"/>
                </a:solidFill>
                <a:effectLst/>
                <a:latin typeface="Roboto" panose="02000000000000000000" pitchFamily="2" charset="0"/>
              </a:rPr>
              <a:t>DBCC PAGE </a:t>
            </a:r>
            <a:r>
              <a:rPr lang="en-US" b="0" i="0" dirty="0">
                <a:solidFill>
                  <a:srgbClr val="373737"/>
                </a:solidFill>
                <a:effectLst/>
                <a:latin typeface="Roboto" panose="02000000000000000000" pitchFamily="2" charset="0"/>
              </a:rPr>
              <a:t>and </a:t>
            </a:r>
            <a:r>
              <a:rPr lang="en-US" b="1" i="0" dirty="0">
                <a:solidFill>
                  <a:srgbClr val="373737"/>
                </a:solidFill>
                <a:effectLst/>
                <a:latin typeface="Roboto" panose="02000000000000000000" pitchFamily="2" charset="0"/>
              </a:rPr>
              <a:t>DBCC IND </a:t>
            </a:r>
            <a:r>
              <a:rPr lang="en-US" b="0" i="0" dirty="0">
                <a:solidFill>
                  <a:srgbClr val="373737"/>
                </a:solidFill>
                <a:effectLst/>
                <a:latin typeface="Roboto" panose="02000000000000000000" pitchFamily="2" charset="0"/>
              </a:rPr>
              <a:t>are both ready-only operations, so they’re completely safe to use.</a:t>
            </a:r>
          </a:p>
          <a:p>
            <a:endParaRPr lang="en-US" dirty="0"/>
          </a:p>
          <a:p>
            <a:r>
              <a:rPr lang="en-US" b="1" dirty="0"/>
              <a:t>DBCC TRACEON(3604) </a:t>
            </a:r>
            <a:r>
              <a:rPr lang="en-US" dirty="0"/>
              <a:t>is used prior to the </a:t>
            </a:r>
            <a:r>
              <a:rPr lang="en-US" b="1" dirty="0"/>
              <a:t>DBCC PAGE </a:t>
            </a:r>
            <a:r>
              <a:rPr lang="en-US" dirty="0"/>
              <a:t>command so that the results are printed to the results pan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32179494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Additionally, avoid having too big\ too few VLF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Checking the SQL Server Error Log - </a:t>
            </a:r>
            <a:r>
              <a:rPr lang="en-US" sz="800" kern="1200" dirty="0">
                <a:solidFill>
                  <a:schemeClr val="tx1"/>
                </a:solidFill>
                <a:latin typeface="Segoe UI Light"/>
                <a:ea typeface="+mn-ea"/>
                <a:cs typeface="+mn-cs"/>
              </a:rPr>
              <a:t>xp_readerrorlog 0,1,N'VLF'</a:t>
            </a: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Reference:</a:t>
            </a:r>
            <a:r>
              <a:rPr lang="en-US" baseline="0" dirty="0"/>
              <a:t> </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r>
              <a:rPr lang="en-US" sz="882" kern="1200" baseline="0" dirty="0">
                <a:solidFill>
                  <a:schemeClr val="tx1"/>
                </a:solidFill>
                <a:effectLst/>
                <a:latin typeface="+mn-lt"/>
                <a:ea typeface="+mn-ea"/>
                <a:cs typeface="+mn-cs"/>
              </a:rPr>
              <a:t>Transaction Log Physical Architectur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physical_arch</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7</a:t>
            </a:fld>
            <a:endParaRPr lang="en-US" noProof="0" dirty="0"/>
          </a:p>
        </p:txBody>
      </p:sp>
    </p:spTree>
    <p:extLst>
      <p:ext uri="{BB962C8B-B14F-4D97-AF65-F5344CB8AC3E}">
        <p14:creationId xmlns:p14="http://schemas.microsoft.com/office/powerpoint/2010/main" val="275760314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3_Database_Structure\</a:t>
            </a:r>
            <a:r>
              <a:rPr lang="en-US" sz="1000" b="0" i="1" dirty="0">
                <a:solidFill>
                  <a:schemeClr val="tx1"/>
                </a:solidFill>
              </a:rPr>
              <a:t>T</a:t>
            </a:r>
            <a:r>
              <a:rPr lang="en-US" sz="1000" i="1" dirty="0">
                <a:solidFill>
                  <a:schemeClr val="tx1"/>
                </a:solidFill>
              </a:rPr>
              <a:t>ransactionalLog.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9010248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7119288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at is a VLF?</a:t>
            </a:r>
          </a:p>
          <a:p>
            <a:r>
              <a:rPr lang="en-US" sz="882" b="0" i="0" kern="1200" baseline="0" dirty="0">
                <a:solidFill>
                  <a:schemeClr val="tx1"/>
                </a:solidFill>
                <a:effectLst/>
                <a:latin typeface="+mn-lt"/>
                <a:ea typeface="+mn-ea"/>
                <a:cs typeface="+mn-cs"/>
              </a:rPr>
              <a:t>The SQL Server Database Engine divides each physical log file internally into a number of virtual log files (VLFs). Virtual log files have no fixed size, and there is no fixed number of virtual log files for a physical log file. The Database Engine chooses the size of the virtual log files dynamically while it is creating or extending log files.</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What can be done to avoid having too many VLFs in the transaction log?</a:t>
            </a:r>
          </a:p>
          <a:p>
            <a:r>
              <a:rPr lang="en-US" dirty="0"/>
              <a:t>To avoid VLF fragmentation:</a:t>
            </a:r>
          </a:p>
          <a:p>
            <a:pPr lvl="1"/>
            <a:r>
              <a:rPr lang="en-US" dirty="0"/>
              <a:t>Pre-size log files to avoid unplanned file growth.</a:t>
            </a:r>
          </a:p>
          <a:p>
            <a:pPr lvl="1"/>
            <a:r>
              <a:rPr lang="en-US" dirty="0"/>
              <a:t>Set autogrowth to an appropriate fixed size.</a:t>
            </a:r>
          </a:p>
          <a:p>
            <a:pPr lvl="0"/>
            <a:endParaRPr lang="en-US" dirty="0"/>
          </a:p>
          <a:p>
            <a:pPr lvl="0"/>
            <a:r>
              <a:rPr lang="en-US" dirty="0"/>
              <a:t>When to use delayed durability?</a:t>
            </a:r>
          </a:p>
          <a:p>
            <a:pPr lvl="1"/>
            <a:r>
              <a:rPr lang="en-US" baseline="0" dirty="0"/>
              <a:t>You can tolerate some data loss.</a:t>
            </a:r>
            <a:endParaRPr lang="en-US" dirty="0"/>
          </a:p>
          <a:p>
            <a:pPr lvl="1"/>
            <a:r>
              <a:rPr lang="en-US" baseline="0" dirty="0"/>
              <a:t>You are experiencing a bottleneck on transaction log writes.</a:t>
            </a:r>
            <a:endParaRPr lang="en-US" dirty="0"/>
          </a:p>
          <a:p>
            <a:pPr lvl="1"/>
            <a:r>
              <a:rPr lang="en-US" baseline="0" dirty="0"/>
              <a:t>Your workloads have a high contention rate.</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0</a:t>
            </a:fld>
            <a:endParaRPr lang="en-US" noProof="0" dirty="0"/>
          </a:p>
        </p:txBody>
      </p:sp>
    </p:spTree>
    <p:extLst>
      <p:ext uri="{BB962C8B-B14F-4D97-AF65-F5344CB8AC3E}">
        <p14:creationId xmlns:p14="http://schemas.microsoft.com/office/powerpoint/2010/main" val="3975811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22222"/>
                </a:solidFill>
                <a:effectLst/>
                <a:latin typeface="Roboto Slab" pitchFamily="2" charset="0"/>
              </a:rPr>
              <a:t>Investigating Page Contents Using DBCC Commands</a:t>
            </a:r>
          </a:p>
          <a:p>
            <a:pPr algn="l"/>
            <a:r>
              <a:rPr lang="en-US" b="0" i="0" dirty="0">
                <a:solidFill>
                  <a:srgbClr val="373737"/>
                </a:solidFill>
                <a:effectLst/>
                <a:latin typeface="Roboto" panose="02000000000000000000" pitchFamily="2" charset="0"/>
              </a:rPr>
              <a:t>We can use the following undocumented DBCC commands to take a look inside our data and index pages: </a:t>
            </a:r>
            <a:r>
              <a:rPr lang="en-US" b="1" i="0" dirty="0">
                <a:solidFill>
                  <a:srgbClr val="373737"/>
                </a:solidFill>
                <a:effectLst/>
                <a:latin typeface="Roboto" panose="02000000000000000000" pitchFamily="2" charset="0"/>
              </a:rPr>
              <a:t>DBCC IND</a:t>
            </a:r>
            <a:r>
              <a:rPr lang="en-US" b="0" i="0" dirty="0">
                <a:solidFill>
                  <a:srgbClr val="373737"/>
                </a:solidFill>
                <a:effectLst/>
                <a:latin typeface="Roboto" panose="02000000000000000000" pitchFamily="2" charset="0"/>
              </a:rPr>
              <a:t>,  </a:t>
            </a:r>
            <a:r>
              <a:rPr lang="en-US" b="1" i="0" dirty="0">
                <a:solidFill>
                  <a:srgbClr val="373737"/>
                </a:solidFill>
                <a:effectLst/>
                <a:latin typeface="Roboto" panose="02000000000000000000" pitchFamily="2" charset="0"/>
              </a:rPr>
              <a:t>DBCC TRACEON</a:t>
            </a:r>
            <a:r>
              <a:rPr lang="en-US" b="0" i="0" dirty="0">
                <a:solidFill>
                  <a:srgbClr val="373737"/>
                </a:solidFill>
                <a:effectLst/>
                <a:latin typeface="Roboto" panose="02000000000000000000" pitchFamily="2" charset="0"/>
              </a:rPr>
              <a:t>, and </a:t>
            </a:r>
            <a:r>
              <a:rPr lang="en-US" b="1" i="0" dirty="0">
                <a:solidFill>
                  <a:srgbClr val="373737"/>
                </a:solidFill>
                <a:effectLst/>
                <a:latin typeface="Roboto" panose="02000000000000000000" pitchFamily="2" charset="0"/>
              </a:rPr>
              <a:t>DBCC PAGE</a:t>
            </a:r>
            <a:r>
              <a:rPr lang="en-US" b="0" i="0" dirty="0">
                <a:solidFill>
                  <a:srgbClr val="373737"/>
                </a:solidFill>
                <a:effectLst/>
                <a:latin typeface="Roboto" panose="02000000000000000000" pitchFamily="2" charset="0"/>
              </a:rPr>
              <a:t>. </a:t>
            </a:r>
          </a:p>
          <a:p>
            <a:pPr algn="l"/>
            <a:endParaRPr lang="en-US" b="0" i="0" dirty="0">
              <a:solidFill>
                <a:srgbClr val="373737"/>
              </a:solidFill>
              <a:effectLst/>
              <a:latin typeface="Roboto" panose="02000000000000000000" pitchFamily="2" charset="0"/>
            </a:endParaRPr>
          </a:p>
          <a:p>
            <a:pPr algn="l"/>
            <a:r>
              <a:rPr lang="en-US" b="1" i="0" dirty="0">
                <a:solidFill>
                  <a:srgbClr val="373737"/>
                </a:solidFill>
                <a:effectLst/>
                <a:latin typeface="Roboto" panose="02000000000000000000" pitchFamily="2" charset="0"/>
              </a:rPr>
              <a:t>DBCC IND </a:t>
            </a:r>
            <a:r>
              <a:rPr lang="en-US" b="0" i="0" dirty="0">
                <a:solidFill>
                  <a:srgbClr val="373737"/>
                </a:solidFill>
                <a:effectLst/>
                <a:latin typeface="Roboto" panose="02000000000000000000" pitchFamily="2" charset="0"/>
              </a:rPr>
              <a:t>provides the relevant page IDs for any object in the database, and then </a:t>
            </a:r>
            <a:r>
              <a:rPr lang="en-US" b="1" i="0" dirty="0">
                <a:solidFill>
                  <a:srgbClr val="373737"/>
                </a:solidFill>
                <a:effectLst/>
                <a:latin typeface="Roboto" panose="02000000000000000000" pitchFamily="2" charset="0"/>
              </a:rPr>
              <a:t>DBCC PAGE </a:t>
            </a:r>
            <a:r>
              <a:rPr lang="en-US" b="0" i="0" dirty="0">
                <a:solidFill>
                  <a:srgbClr val="373737"/>
                </a:solidFill>
                <a:effectLst/>
                <a:latin typeface="Roboto" panose="02000000000000000000" pitchFamily="2" charset="0"/>
              </a:rPr>
              <a:t>allows us to investigate what’s stored on disk on those specific pages. Note that </a:t>
            </a:r>
            <a:r>
              <a:rPr lang="en-US" b="1" i="0" dirty="0">
                <a:solidFill>
                  <a:srgbClr val="373737"/>
                </a:solidFill>
                <a:effectLst/>
                <a:latin typeface="Roboto" panose="02000000000000000000" pitchFamily="2" charset="0"/>
              </a:rPr>
              <a:t>DBCC PAGE </a:t>
            </a:r>
            <a:r>
              <a:rPr lang="en-US" b="0" i="0" dirty="0">
                <a:solidFill>
                  <a:srgbClr val="373737"/>
                </a:solidFill>
                <a:effectLst/>
                <a:latin typeface="Roboto" panose="02000000000000000000" pitchFamily="2" charset="0"/>
              </a:rPr>
              <a:t>and </a:t>
            </a:r>
            <a:r>
              <a:rPr lang="en-US" b="1" i="0" dirty="0">
                <a:solidFill>
                  <a:srgbClr val="373737"/>
                </a:solidFill>
                <a:effectLst/>
                <a:latin typeface="Roboto" panose="02000000000000000000" pitchFamily="2" charset="0"/>
              </a:rPr>
              <a:t>DBCC IND </a:t>
            </a:r>
            <a:r>
              <a:rPr lang="en-US" b="0" i="0" dirty="0">
                <a:solidFill>
                  <a:srgbClr val="373737"/>
                </a:solidFill>
                <a:effectLst/>
                <a:latin typeface="Roboto" panose="02000000000000000000" pitchFamily="2" charset="0"/>
              </a:rPr>
              <a:t>are both ready-only operations, so they’re completely safe to use.</a:t>
            </a:r>
          </a:p>
          <a:p>
            <a:endParaRPr lang="en-US" dirty="0"/>
          </a:p>
          <a:p>
            <a:r>
              <a:rPr lang="en-US" b="1" dirty="0"/>
              <a:t>DBCC TRACEON(3604) </a:t>
            </a:r>
            <a:r>
              <a:rPr lang="en-US" dirty="0"/>
              <a:t>is used prior to the </a:t>
            </a:r>
            <a:r>
              <a:rPr lang="en-US" b="1" dirty="0"/>
              <a:t>DBCC PAGE </a:t>
            </a:r>
            <a:r>
              <a:rPr lang="en-US" dirty="0"/>
              <a:t>command so that the results are printed to the results pan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24544288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t>Further Reading: </a:t>
            </a:r>
            <a:r>
              <a:rPr lang="en-US" dirty="0" err="1">
                <a:hlinkClick r:id="rId3"/>
              </a:rPr>
              <a:t>sys.dm_db_page_info</a:t>
            </a:r>
            <a:r>
              <a:rPr lang="en-US" dirty="0">
                <a:hlinkClick r:id="rId3"/>
              </a:rPr>
              <a:t> (Transact-SQL) - SQL Server | Microsoft Learn</a:t>
            </a:r>
            <a:endParaRPr lang="en-US" b="1" i="0" dirty="0"/>
          </a:p>
          <a:p>
            <a:endParaRPr lang="en-US" dirty="0"/>
          </a:p>
          <a:p>
            <a:r>
              <a:rPr lang="en-US" dirty="0"/>
              <a:t>sys.dm_db_page_info</a:t>
            </a:r>
            <a:r>
              <a:rPr lang="en-US" sz="882" b="0" i="0" u="none" strike="noStrike" kern="1200" baseline="0" dirty="0">
                <a:solidFill>
                  <a:schemeClr val="tx1"/>
                </a:solidFill>
                <a:effectLst/>
                <a:latin typeface="+mn-lt"/>
                <a:ea typeface="+mn-ea"/>
                <a:cs typeface="+mn-cs"/>
              </a:rPr>
              <a:t> can be used in place of the </a:t>
            </a:r>
            <a:r>
              <a:rPr lang="en-US" dirty="0"/>
              <a:t>DBCC PAGE</a:t>
            </a:r>
            <a:r>
              <a:rPr lang="en-US" sz="882" b="0" i="0" u="none" strike="noStrike" kern="1200" baseline="0" dirty="0">
                <a:solidFill>
                  <a:schemeClr val="tx1"/>
                </a:solidFill>
                <a:effectLst/>
                <a:latin typeface="+mn-lt"/>
                <a:ea typeface="+mn-ea"/>
                <a:cs typeface="+mn-cs"/>
              </a:rPr>
              <a:t> statement in many cases, but it returns only the page header information, not the body of the page. </a:t>
            </a:r>
            <a:r>
              <a:rPr lang="en-US" dirty="0"/>
              <a:t>DBCC PAGE</a:t>
            </a:r>
            <a:r>
              <a:rPr lang="en-US" sz="882" b="0" i="0" u="none" strike="noStrike" kern="1200" baseline="0" dirty="0">
                <a:solidFill>
                  <a:schemeClr val="tx1"/>
                </a:solidFill>
                <a:effectLst/>
                <a:latin typeface="+mn-lt"/>
                <a:ea typeface="+mn-ea"/>
                <a:cs typeface="+mn-cs"/>
              </a:rPr>
              <a:t> will still be needed for use cases where the entire contents of the page are required.</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882256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3_Database_Structure\</a:t>
            </a:r>
            <a:r>
              <a:rPr lang="en-US" altLang="ja-JP" sz="900" i="1" dirty="0">
                <a:solidFill>
                  <a:schemeClr val="tx1"/>
                </a:solidFill>
              </a:rPr>
              <a:t>ExaminingDataPag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0" dirty="0"/>
              <a:t>E:\Demos\03_Database_Structure\</a:t>
            </a:r>
            <a:r>
              <a:rPr lang="en-US" altLang="ja-JP" sz="900" i="1" dirty="0">
                <a:solidFill>
                  <a:schemeClr val="tx1"/>
                </a:solidFill>
              </a:rPr>
              <a:t>ExaminingDataPages_RowOverFlow</a:t>
            </a:r>
          </a:p>
          <a:p>
            <a:endParaRPr lang="en-US" altLang="ja-JP" sz="900" dirty="0">
              <a:solidFill>
                <a:schemeClr val="tx1"/>
              </a:solidFill>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387311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33630449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11433743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449127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8118417"/>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05E3935E-6EE2-00A9-F774-48C75B8224A2}"/>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3960947"/>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381CF076-14BD-6674-57F6-D6DA0CFDEC92}"/>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440316"/>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9495526"/>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783788"/>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329199"/>
      </p:ext>
    </p:extLst>
  </p:cSld>
  <p:clrMapOvr>
    <a:masterClrMapping/>
  </p:clrMapOvr>
  <p:hf sldNum="0" hdr="0" ftr="0" dt="0"/>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0505"/>
      </p:ext>
    </p:extLst>
  </p:cSld>
  <p:clrMapOvr>
    <a:masterClrMapping/>
  </p:clrMapOvr>
  <p:hf sldNum="0" hdr="0" ftr="0" dt="0"/>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B1F7A16D-37B5-620C-A219-59BE4B0D383F}"/>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092602275"/>
      </p:ext>
    </p:extLst>
  </p:cSld>
  <p:clrMapOvr>
    <a:masterClrMapping/>
  </p:clrMapOvr>
  <p:hf sldNum="0" hdr="0" ftr="0" dt="0"/>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03EF4C8E-6D39-7D5B-BD2C-F912B2AF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42526894"/>
      </p:ext>
    </p:extLst>
  </p:cSld>
  <p:clrMapOvr>
    <a:masterClrMapping/>
  </p:clrMapOvr>
  <p:hf sldNum="0"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13188982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1913420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89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0030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103508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1075907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777157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1727850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148194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1739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1359739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916207"/>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5652407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811616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9650893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45140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5362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4027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521008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27345258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23280589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4720324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8160906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85380360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873665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5976222"/>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60083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1413267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86608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8361893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228815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519853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0446708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426025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963039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134608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4930293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5932090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78365164"/>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051736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151097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697055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346440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7393110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4823987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68714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594954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905740"/>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3224814"/>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291626437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898817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38351988"/>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403712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62972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807848763"/>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6937237"/>
      </p:ext>
    </p:extLst>
  </p:cSld>
  <p:clrMapOvr>
    <a:masterClrMapping/>
  </p:clrMapOvr>
  <p:hf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20384460"/>
      </p:ext>
    </p:extLst>
  </p:cSld>
  <p:clrMapOvr>
    <a:masterClrMapping/>
  </p:clrMapOvr>
  <p:hf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31427486"/>
      </p:ext>
    </p:extLst>
  </p:cSld>
  <p:clrMapOvr>
    <a:masterClrMapping/>
  </p:clrMapOvr>
  <p:hf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3682411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88828778"/>
      </p:ext>
    </p:extLst>
  </p:cSld>
  <p:clrMapOvr>
    <a:masterClrMapping/>
  </p:clrMapOvr>
  <p:hf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85539583"/>
      </p:ext>
    </p:extLst>
  </p:cSld>
  <p:clrMapOvr>
    <a:masterClrMapping/>
  </p:clrMapOvr>
  <p:hf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88433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64423324"/>
      </p:ext>
    </p:extLst>
  </p:cSld>
  <p:clrMapOvr>
    <a:masterClrMapping/>
  </p:clrMapOvr>
  <p:hf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34442477"/>
      </p:ext>
    </p:extLst>
  </p:cSld>
  <p:clrMapOvr>
    <a:masterClrMapping/>
  </p:clrMapOvr>
  <p:hf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08477682"/>
      </p:ext>
    </p:extLst>
  </p:cSld>
  <p:clrMapOvr>
    <a:masterClrMapping/>
  </p:clrMapOvr>
  <p:hf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540544"/>
      </p:ext>
    </p:extLst>
  </p:cSld>
  <p:clrMapOvr>
    <a:masterClrMapping/>
  </p:clrMapOvr>
  <p:hf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282960"/>
      </p:ext>
    </p:extLst>
  </p:cSld>
  <p:clrMapOvr>
    <a:masterClrMapping/>
  </p:clrMapOvr>
  <p:hf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99389891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687304494"/>
      </p:ext>
    </p:extLst>
  </p:cSld>
  <p:clrMapOvr>
    <a:masterClrMapping/>
  </p:clrMapOvr>
  <p:hf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9230083"/>
      </p:ext>
    </p:extLst>
  </p:cSld>
  <p:clrMapOvr>
    <a:masterClrMapping/>
  </p:clrMapOvr>
  <p:hf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50054409"/>
      </p:ext>
    </p:extLst>
  </p:cSld>
  <p:clrMapOvr>
    <a:masterClrMapping/>
  </p:clrMapOvr>
  <p:hf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593007532"/>
      </p:ext>
    </p:extLst>
  </p:cSld>
  <p:clrMapOvr>
    <a:masterClrMapping/>
  </p:clrMapOvr>
  <p:hf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4922266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51207169"/>
      </p:ext>
    </p:extLst>
  </p:cSld>
  <p:clrMapOvr>
    <a:masterClrMapping/>
  </p:clrMapOvr>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53127986"/>
      </p:ext>
    </p:extLst>
  </p:cSld>
  <p:clrMapOvr>
    <a:masterClrMapping/>
  </p:clrMapOvr>
  <p:hf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539170"/>
      </p:ext>
    </p:extLst>
  </p:cSld>
  <p:clrMapOvr>
    <a:masterClrMapping/>
  </p:clrMapOvr>
  <p:hf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81661436"/>
      </p:ext>
    </p:extLst>
  </p:cSld>
  <p:clrMapOvr>
    <a:masterClrMapping/>
  </p:clrMapOvr>
  <p:hf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2864799"/>
      </p:ext>
    </p:extLst>
  </p:cSld>
  <p:clrMapOvr>
    <a:masterClrMapping/>
  </p:clrMapOvr>
  <p:hf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79101036"/>
      </p:ext>
    </p:extLst>
  </p:cSld>
  <p:clrMapOvr>
    <a:masterClrMapping/>
  </p:clrMapOvr>
  <p:hf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5427209"/>
      </p:ext>
    </p:extLst>
  </p:cSld>
  <p:clrMapOvr>
    <a:masterClrMapping/>
  </p:clrMapOvr>
  <p:hf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31560142"/>
      </p:ext>
    </p:extLst>
  </p:cSld>
  <p:clrMapOvr>
    <a:masterClrMapping/>
  </p:clrMapOvr>
  <p:hf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4755432"/>
      </p:ext>
    </p:extLst>
  </p:cSld>
  <p:clrMapOvr>
    <a:masterClrMapping/>
  </p:clrMapOvr>
  <p:hf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86835939"/>
      </p:ext>
    </p:extLst>
  </p:cSld>
  <p:clrMapOvr>
    <a:masterClrMapping/>
  </p:clrMapOvr>
  <p:hf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73073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2805526"/>
      </p:ext>
    </p:extLst>
  </p:cSld>
  <p:clrMapOvr>
    <a:masterClrMapping/>
  </p:clrMapOvr>
  <p:hf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32669230"/>
      </p:ext>
    </p:extLst>
  </p:cSld>
  <p:clrMapOvr>
    <a:masterClrMapping/>
  </p:clrMapOvr>
  <p:hf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9736626"/>
      </p:ext>
    </p:extLst>
  </p:cSld>
  <p:clrMapOvr>
    <a:masterClrMapping/>
  </p:clrMapOvr>
  <p:hf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18838571"/>
      </p:ext>
    </p:extLst>
  </p:cSld>
  <p:clrMapOvr>
    <a:masterClrMapping/>
  </p:clrMapOvr>
  <p:hf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96324419"/>
      </p:ext>
    </p:extLst>
  </p:cSld>
  <p:clrMapOvr>
    <a:masterClrMapping/>
  </p:clrMapOvr>
  <p:hf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17634123"/>
      </p:ext>
    </p:extLst>
  </p:cSld>
  <p:clrMapOvr>
    <a:masterClrMapping/>
  </p:clrMapOvr>
  <p:hf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7637140"/>
      </p:ext>
    </p:extLst>
  </p:cSld>
  <p:clrMapOvr>
    <a:masterClrMapping/>
  </p:clrMapOvr>
  <p:hf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07333239"/>
      </p:ext>
    </p:extLst>
  </p:cSld>
  <p:clrMapOvr>
    <a:masterClrMapping/>
  </p:clrMapOvr>
  <p:hf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87571856"/>
      </p:ext>
    </p:extLst>
  </p:cSld>
  <p:clrMapOvr>
    <a:masterClrMapping/>
  </p:clrMapOvr>
  <p:hf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946555"/>
      </p:ext>
    </p:extLst>
  </p:cSld>
  <p:clrMapOvr>
    <a:masterClrMapping/>
  </p:clrMapOvr>
  <p:hf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409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9554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241645"/>
      </p:ext>
    </p:extLst>
  </p:cSld>
  <p:clrMapOvr>
    <a:masterClrMapping/>
  </p:clrMapOvr>
  <p:hf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654872"/>
      </p:ext>
    </p:extLst>
  </p:cSld>
  <p:clrMapOvr>
    <a:masterClrMapping/>
  </p:clrMapOvr>
  <p:hf hdr="0" ftr="0" dt="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936516"/>
      </p:ext>
    </p:extLst>
  </p:cSld>
  <p:clrMapOvr>
    <a:masterClrMapping/>
  </p:clrMapOvr>
  <p:hf hdr="0" ftr="0" dt="0"/>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45700182"/>
      </p:ext>
    </p:extLst>
  </p:cSld>
  <p:clrMapOvr>
    <a:masterClrMapping/>
  </p:clrMapOvr>
  <p:hf hdr="0" ftr="0" dt="0"/>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a:extLst>
              <a:ext uri="{FF2B5EF4-FFF2-40B4-BE49-F238E27FC236}">
                <a16:creationId xmlns:a16="http://schemas.microsoft.com/office/drawing/2014/main" id="{FC13705E-D1CE-37FB-8064-B6855F6D98F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04897508"/>
      </p:ext>
    </p:extLst>
  </p:cSld>
  <p:clrMapOvr>
    <a:masterClrMapping/>
  </p:clrMapOvr>
  <p:transition>
    <p:fade/>
  </p:transition>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25604777"/>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2DA8CB0A-DAEE-D41A-A10B-440F56CE3342}"/>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52462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9182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55895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0949138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424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70968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172944915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1"/>
            <a:ext cx="12448814" cy="6989885"/>
          </a:xfrm>
          <a:prstGeom prst="rect">
            <a:avLst/>
          </a:prstGeom>
        </p:spPr>
      </p:pic>
      <p:sp>
        <p:nvSpPr>
          <p:cNvPr id="10" name="Rectangle 9"/>
          <p:cNvSpPr/>
          <p:nvPr userDrawn="1"/>
        </p:nvSpPr>
        <p:spPr bwMode="auto">
          <a:xfrm>
            <a:off x="-87922" y="4"/>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3" y="1350387"/>
            <a:ext cx="12206593" cy="364265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29478084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39950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85288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064576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280736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54868485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398097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6712272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81909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9093758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741990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9895418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5767772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8247834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3932909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5531474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411788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318465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555148485"/>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6174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57649021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82855004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758626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47020769"/>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1365936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5775112"/>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08701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786580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1967847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931226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19546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6642709"/>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4221639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048048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98651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6087477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088014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6009952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431845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222743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465301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09241495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012656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0874619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5907835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87349778-B44C-D397-29E2-217B07C2C6C4}"/>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4697900"/>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913632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58408"/>
      </p:ext>
    </p:extLst>
  </p:cSld>
  <p:clrMapOvr>
    <a:masterClrMapping/>
  </p:clrMapOvr>
  <p:transition>
    <p:fade/>
  </p:transition>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5662754"/>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18407536"/>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2" name="Text Box 3">
            <a:extLst>
              <a:ext uri="{FF2B5EF4-FFF2-40B4-BE49-F238E27FC236}">
                <a16:creationId xmlns:a16="http://schemas.microsoft.com/office/drawing/2014/main" id="{1C29F94B-6577-9302-36AB-1D8FDA67B215}"/>
              </a:ext>
            </a:extLst>
          </p:cNvPr>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a:extLst>
              <a:ext uri="{FF2B5EF4-FFF2-40B4-BE49-F238E27FC236}">
                <a16:creationId xmlns:a16="http://schemas.microsoft.com/office/drawing/2014/main" id="{A09018F6-0E14-18FA-9A7B-E601FB1AE60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2028894"/>
      </p:ext>
    </p:extLst>
  </p:cSld>
  <p:clrMapOvr>
    <a:masterClrMapping/>
  </p:clrMapOvr>
  <p:transition>
    <p:fade/>
  </p:transition>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74244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18656"/>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61015295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644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4065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28962422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422686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412191662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14890762"/>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25955659"/>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095537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930304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01732095"/>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94495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718121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188711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863371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6006591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2250499"/>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38499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49573210"/>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6851416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180522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3441067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44578678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413415117"/>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9164671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8071782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0494109"/>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0035078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3513387"/>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88939780"/>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92029037"/>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65159313"/>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2873370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63" tIns="179222" rIns="119483" bIns="59740" rtlCol="0" anchor="t" anchorCtr="0">
            <a:noAutofit/>
          </a:bodyPr>
          <a:lstStyle/>
          <a:p>
            <a:pPr defTabSz="597351">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351">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351">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351">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351">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351">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0" y="2812964"/>
            <a:ext cx="3087685" cy="363312"/>
          </a:xfrm>
          <a:prstGeom prst="rect">
            <a:avLst/>
          </a:prstGeom>
          <a:noFill/>
          <a:ln>
            <a:noFill/>
          </a:ln>
        </p:spPr>
        <p:txBody>
          <a:bodyPr vert="horz" wrap="none" lIns="238963" tIns="179222" rIns="119483" bIns="59740" rtlCol="0" anchor="ctr" anchorCtr="0">
            <a:noAutofit/>
          </a:bodyPr>
          <a:lstStyle/>
          <a:p>
            <a:pPr defTabSz="597351">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3"/>
            <a:ext cx="11454317" cy="2390805"/>
          </a:xfrm>
          <a:prstGeom prst="rect">
            <a:avLst/>
          </a:prstGeom>
          <a:noFill/>
          <a:ln>
            <a:noFill/>
          </a:ln>
        </p:spPr>
        <p:txBody>
          <a:bodyPr vert="horz" wrap="square" lIns="238963" tIns="179222" rIns="119483" bIns="59740" rtlCol="0" anchor="t" anchorCtr="0">
            <a:normAutofit/>
          </a:bodyPr>
          <a:lstStyle/>
          <a:p>
            <a:pPr defTabSz="597351">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351">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351">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351">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84368325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8362645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3892706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92507847"/>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9556502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607667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212100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854893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036282"/>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47264149"/>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27199888"/>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337916041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7291951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15019"/>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70410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925610"/>
      </p:ext>
    </p:extLst>
  </p:cSld>
  <p:clrMapOvr>
    <a:masterClrMapping/>
  </p:clrMapOvr>
  <p:hf sldNum="0" hdr="0" ftr="0" dt="0"/>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5263672"/>
      </p:ext>
    </p:extLst>
  </p:cSld>
  <p:clrMapOvr>
    <a:masterClrMapping/>
  </p:clrMapOvr>
  <p:hf sldNum="0" hdr="0" ftr="0" dt="0"/>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14296497"/>
      </p:ext>
    </p:extLst>
  </p:cSld>
  <p:clrMapOvr>
    <a:masterClrMapping/>
  </p:clrMapOvr>
  <p:hf sldNum="0" hdr="0" ftr="0" dt="0"/>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3709398"/>
      </p:ext>
    </p:extLst>
  </p:cSld>
  <p:clrMapOvr>
    <a:masterClrMapping/>
  </p:clrMapOvr>
  <p:hf sldNum="0" hdr="0" ftr="0" dt="0"/>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8403035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981360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57391276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56781188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381024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549856648"/>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9528189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1729093268"/>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054676864"/>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4032759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6663246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88871059"/>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3311838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6599423"/>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685220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8"/>
            <a:ext cx="11653523" cy="3582391"/>
          </a:xfrm>
        </p:spPr>
        <p:txBody>
          <a:bodyPr>
            <a:spAutoFit/>
          </a:bodyPr>
          <a:lstStyle>
            <a:lvl1pPr>
              <a:defRPr sz="3920" baseline="0">
                <a:solidFill>
                  <a:schemeClr val="bg1"/>
                </a:solidFill>
                <a:latin typeface="+mj-lt"/>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119750341"/>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956520031"/>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836034127"/>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38237032"/>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19247508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56288208"/>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6996752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11961353"/>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99787758"/>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18840425"/>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72333556"/>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1032846"/>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02781519"/>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30333972"/>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71259711"/>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5473129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2976282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7597922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2712343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5857974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0734452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1632407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42507"/>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8076930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2945587"/>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41994538"/>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4252005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6060676"/>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207365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900663"/>
      </p:ext>
    </p:extLst>
  </p:cSld>
  <p:clrMapOvr>
    <a:masterClrMapping/>
  </p:clrMapOvr>
  <p:hf sldNum="0" hdr="0" ftr="0" dt="0"/>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525244"/>
      </p:ext>
    </p:extLst>
  </p:cSld>
  <p:clrMapOvr>
    <a:masterClrMapping/>
  </p:clrMapOvr>
  <p:hf sldNum="0" hdr="0" ftr="0" dt="0"/>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50740413"/>
      </p:ext>
    </p:extLst>
  </p:cSld>
  <p:clrMapOvr>
    <a:masterClrMapping/>
  </p:clrMapOvr>
  <p:hf sldNum="0" hdr="0" ftr="0" dt="0"/>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546317319"/>
      </p:ext>
    </p:extLst>
  </p:cSld>
  <p:clrMapOvr>
    <a:masterClrMapping/>
  </p:clrMapOvr>
  <p:hf sldNum="0" hdr="0" ftr="0" dt="0"/>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085146138"/>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55958352"/>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720343"/>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10417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90016791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530659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58841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410424533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647378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18644107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72219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851419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1"/>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89232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523152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844240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600315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7"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6"/>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356265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220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3459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0823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74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6719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93711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278427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6"/>
            <a:ext cx="11653523" cy="3120213"/>
          </a:xfrm>
        </p:spPr>
        <p:txBody>
          <a:bodyPr>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528" baseline="0">
                <a:solidFill>
                  <a:schemeClr val="bg1"/>
                </a:solidFill>
              </a:defRPr>
            </a:lvl1pPr>
          </a:lstStyle>
          <a:p>
            <a:pPr lvl="0"/>
            <a:r>
              <a:rPr lang="en-US" dirty="0"/>
              <a:t>Question 1</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95195262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60682314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093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4"/>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2" y="6356352"/>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8"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2"/>
            <a:ext cx="2844800" cy="365125"/>
          </a:xfrm>
          <a:prstGeom prst="rect">
            <a:avLst/>
          </a:prstGeom>
        </p:spPr>
        <p:txBody>
          <a:bodyPr vert="horz" lIns="182828" tIns="45706" rIns="182828" bIns="45706"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3627741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29" tIns="179197" rIns="119466" bIns="59731" rtlCol="0" anchor="t" anchorCtr="0">
            <a:noAutofit/>
          </a:bodyPr>
          <a:lstStyle/>
          <a:p>
            <a:pPr defTabSz="597236">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236">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236">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236">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236">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236">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1" y="2812965"/>
            <a:ext cx="3087685" cy="363312"/>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4"/>
            <a:ext cx="11454317" cy="2390805"/>
          </a:xfrm>
          <a:prstGeom prst="rect">
            <a:avLst/>
          </a:prstGeom>
          <a:noFill/>
          <a:ln>
            <a:noFill/>
          </a:ln>
        </p:spPr>
        <p:txBody>
          <a:bodyPr vert="horz" wrap="square" lIns="238929" tIns="179197" rIns="119466" bIns="59731" rtlCol="0" anchor="t" anchorCtr="0">
            <a:normAutofit/>
          </a:bodyPr>
          <a:lstStyle/>
          <a:p>
            <a:pPr defTabSz="597236">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236">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236">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236">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28341905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26665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397819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092326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43050449"/>
      </p:ext>
    </p:extLst>
  </p:cSld>
  <p:clrMapOvr>
    <a:masterClrMapping/>
  </p:clrMapOvr>
  <p:hf sldNum="0" hdr="0" ftr="0" dt="0"/>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0116207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33953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3904663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6056467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38769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76447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6795304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42399760-211E-4D3F-67F0-4C48A48CBE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2287956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40051056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0931847B-239F-97CC-DB26-6470EF9630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99663397"/>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CDEE51F0-78CA-6910-93E1-AB3943F2AF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78196929"/>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8E871D65-E358-62D3-E797-B9362F5C9F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8861174"/>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110B2D99-5540-2A37-0FF4-675C61BE38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38659424"/>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0299405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65652318"/>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1470972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0065768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6743787"/>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89650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582484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64817864"/>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355911983"/>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1980499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2693447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956263598"/>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2444822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223457"/>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68651155"/>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1391095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0160471"/>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141558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1336393"/>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64766728"/>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3158543"/>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4254613"/>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760737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2091781"/>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9018101"/>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22543104"/>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46956984"/>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64883546"/>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image" Target="../media/image1.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image" Target="../media/image8.png"/><Relationship Id="rId5" Type="http://schemas.openxmlformats.org/officeDocument/2006/relationships/slideLayout" Target="../slideLayouts/slideLayout63.xml"/><Relationship Id="rId10" Type="http://schemas.openxmlformats.org/officeDocument/2006/relationships/image" Target="../media/image7.emf"/><Relationship Id="rId4" Type="http://schemas.openxmlformats.org/officeDocument/2006/relationships/slideLayout" Target="../slideLayouts/slideLayout6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slideLayout" Target="../slideLayouts/slideLayout113.xml"/><Relationship Id="rId50" Type="http://schemas.openxmlformats.org/officeDocument/2006/relationships/slideLayout" Target="../slideLayouts/slideLayout116.xml"/><Relationship Id="rId55" Type="http://schemas.openxmlformats.org/officeDocument/2006/relationships/tags" Target="../tags/tag8.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3" Type="http://schemas.openxmlformats.org/officeDocument/2006/relationships/tags" Target="../tags/tag6.xml"/><Relationship Id="rId58" Type="http://schemas.openxmlformats.org/officeDocument/2006/relationships/image" Target="../media/image13.emf"/><Relationship Id="rId5" Type="http://schemas.openxmlformats.org/officeDocument/2006/relationships/slideLayout" Target="../slideLayouts/slideLayout71.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slideLayout" Target="../slideLayouts/slideLayout114.xml"/><Relationship Id="rId56" Type="http://schemas.openxmlformats.org/officeDocument/2006/relationships/tags" Target="../tags/tag9.xml"/><Relationship Id="rId8" Type="http://schemas.openxmlformats.org/officeDocument/2006/relationships/slideLayout" Target="../slideLayouts/slideLayout74.xml"/><Relationship Id="rId51" Type="http://schemas.openxmlformats.org/officeDocument/2006/relationships/slideLayout" Target="../slideLayouts/slideLayout117.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20" Type="http://schemas.openxmlformats.org/officeDocument/2006/relationships/slideLayout" Target="../slideLayouts/slideLayout86.xml"/><Relationship Id="rId41" Type="http://schemas.openxmlformats.org/officeDocument/2006/relationships/slideLayout" Target="../slideLayouts/slideLayout107.xml"/><Relationship Id="rId54" Type="http://schemas.openxmlformats.org/officeDocument/2006/relationships/tags" Target="../tags/tag7.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49" Type="http://schemas.openxmlformats.org/officeDocument/2006/relationships/slideLayout" Target="../slideLayouts/slideLayout115.xml"/><Relationship Id="rId57" Type="http://schemas.openxmlformats.org/officeDocument/2006/relationships/tags" Target="../tags/tag10.xml"/><Relationship Id="rId10" Type="http://schemas.openxmlformats.org/officeDocument/2006/relationships/slideLayout" Target="../slideLayouts/slideLayout76.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5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47" Type="http://schemas.openxmlformats.org/officeDocument/2006/relationships/tags" Target="../tags/tag12.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image" Target="../media/image13.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tags" Target="../tags/tag13.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tags" Target="../tags/tag11.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slideLayout" Target="../slideLayouts/slideLayout200.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42" Type="http://schemas.openxmlformats.org/officeDocument/2006/relationships/slideLayout" Target="../slideLayouts/slideLayout203.xml"/><Relationship Id="rId47" Type="http://schemas.openxmlformats.org/officeDocument/2006/relationships/slideLayout" Target="../slideLayouts/slideLayout208.xml"/><Relationship Id="rId50" Type="http://schemas.openxmlformats.org/officeDocument/2006/relationships/slideLayout" Target="../slideLayouts/slideLayout211.xml"/><Relationship Id="rId55" Type="http://schemas.openxmlformats.org/officeDocument/2006/relationships/theme" Target="../theme/theme6.xml"/><Relationship Id="rId7" Type="http://schemas.openxmlformats.org/officeDocument/2006/relationships/slideLayout" Target="../slideLayouts/slideLayout16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9" Type="http://schemas.openxmlformats.org/officeDocument/2006/relationships/slideLayout" Target="../slideLayouts/slideLayout190.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3" Type="http://schemas.openxmlformats.org/officeDocument/2006/relationships/slideLayout" Target="../slideLayouts/slideLayout214.xml"/><Relationship Id="rId58" Type="http://schemas.openxmlformats.org/officeDocument/2006/relationships/tags" Target="../tags/tag16.xml"/><Relationship Id="rId5" Type="http://schemas.openxmlformats.org/officeDocument/2006/relationships/slideLayout" Target="../slideLayouts/slideLayout166.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56" Type="http://schemas.openxmlformats.org/officeDocument/2006/relationships/tags" Target="../tags/tag14.xml"/><Relationship Id="rId8" Type="http://schemas.openxmlformats.org/officeDocument/2006/relationships/slideLayout" Target="../slideLayouts/slideLayout169.xml"/><Relationship Id="rId51" Type="http://schemas.openxmlformats.org/officeDocument/2006/relationships/slideLayout" Target="../slideLayouts/slideLayout212.xml"/><Relationship Id="rId3" Type="http://schemas.openxmlformats.org/officeDocument/2006/relationships/slideLayout" Target="../slideLayouts/slideLayout164.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slideLayout" Target="../slideLayouts/slideLayout207.xml"/><Relationship Id="rId59" Type="http://schemas.openxmlformats.org/officeDocument/2006/relationships/image" Target="../media/image13.emf"/><Relationship Id="rId20" Type="http://schemas.openxmlformats.org/officeDocument/2006/relationships/slideLayout" Target="../slideLayouts/slideLayout181.xml"/><Relationship Id="rId41" Type="http://schemas.openxmlformats.org/officeDocument/2006/relationships/slideLayout" Target="../slideLayouts/slideLayout202.xml"/><Relationship Id="rId54" Type="http://schemas.openxmlformats.org/officeDocument/2006/relationships/slideLayout" Target="../slideLayouts/slideLayout215.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49" Type="http://schemas.openxmlformats.org/officeDocument/2006/relationships/slideLayout" Target="../slideLayouts/slideLayout210.xml"/><Relationship Id="rId57" Type="http://schemas.openxmlformats.org/officeDocument/2006/relationships/tags" Target="../tags/tag15.xml"/><Relationship Id="rId10" Type="http://schemas.openxmlformats.org/officeDocument/2006/relationships/slideLayout" Target="../slideLayouts/slideLayout171.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52" Type="http://schemas.openxmlformats.org/officeDocument/2006/relationships/slideLayout" Target="../slideLayouts/slideLayout21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9" Type="http://schemas.openxmlformats.org/officeDocument/2006/relationships/slideLayout" Target="../slideLayouts/slideLayout254.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42" Type="http://schemas.openxmlformats.org/officeDocument/2006/relationships/slideLayout" Target="../slideLayouts/slideLayout257.xml"/><Relationship Id="rId47" Type="http://schemas.openxmlformats.org/officeDocument/2006/relationships/slideLayout" Target="../slideLayouts/slideLayout262.xml"/><Relationship Id="rId50" Type="http://schemas.openxmlformats.org/officeDocument/2006/relationships/tags" Target="../tags/tag18.xml"/><Relationship Id="rId7" Type="http://schemas.openxmlformats.org/officeDocument/2006/relationships/slideLayout" Target="../slideLayouts/slideLayout22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9" Type="http://schemas.openxmlformats.org/officeDocument/2006/relationships/slideLayout" Target="../slideLayouts/slideLayout244.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slideLayout" Target="../slideLayouts/slideLayout252.xml"/><Relationship Id="rId40" Type="http://schemas.openxmlformats.org/officeDocument/2006/relationships/slideLayout" Target="../slideLayouts/slideLayout255.xml"/><Relationship Id="rId45" Type="http://schemas.openxmlformats.org/officeDocument/2006/relationships/slideLayout" Target="../slideLayouts/slideLayout260.xml"/><Relationship Id="rId53" Type="http://schemas.openxmlformats.org/officeDocument/2006/relationships/image" Target="../media/image1.png"/><Relationship Id="rId5" Type="http://schemas.openxmlformats.org/officeDocument/2006/relationships/slideLayout" Target="../slideLayouts/slideLayout220.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4" Type="http://schemas.openxmlformats.org/officeDocument/2006/relationships/slideLayout" Target="../slideLayouts/slideLayout259.xml"/><Relationship Id="rId52" Type="http://schemas.openxmlformats.org/officeDocument/2006/relationships/image" Target="../media/image13.emf"/><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43" Type="http://schemas.openxmlformats.org/officeDocument/2006/relationships/slideLayout" Target="../slideLayouts/slideLayout258.xml"/><Relationship Id="rId48" Type="http://schemas.openxmlformats.org/officeDocument/2006/relationships/theme" Target="../theme/theme7.xml"/><Relationship Id="rId8" Type="http://schemas.openxmlformats.org/officeDocument/2006/relationships/slideLayout" Target="../slideLayouts/slideLayout223.xml"/><Relationship Id="rId51" Type="http://schemas.openxmlformats.org/officeDocument/2006/relationships/tags" Target="../tags/tag19.xml"/><Relationship Id="rId3" Type="http://schemas.openxmlformats.org/officeDocument/2006/relationships/slideLayout" Target="../slideLayouts/slideLayout218.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38" Type="http://schemas.openxmlformats.org/officeDocument/2006/relationships/slideLayout" Target="../slideLayouts/slideLayout253.xml"/><Relationship Id="rId46" Type="http://schemas.openxmlformats.org/officeDocument/2006/relationships/slideLayout" Target="../slideLayouts/slideLayout261.xml"/><Relationship Id="rId20" Type="http://schemas.openxmlformats.org/officeDocument/2006/relationships/slideLayout" Target="../slideLayouts/slideLayout235.xml"/><Relationship Id="rId41" Type="http://schemas.openxmlformats.org/officeDocument/2006/relationships/slideLayout" Target="../slideLayouts/slideLayout256.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slideLayout" Target="../slideLayouts/slideLayout251.xml"/><Relationship Id="rId49" Type="http://schemas.openxmlformats.org/officeDocument/2006/relationships/tags" Target="../tags/tag1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9" Type="http://schemas.openxmlformats.org/officeDocument/2006/relationships/slideLayout" Target="../slideLayouts/slideLayout301.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42" Type="http://schemas.openxmlformats.org/officeDocument/2006/relationships/slideLayout" Target="../slideLayouts/slideLayout304.xml"/><Relationship Id="rId47" Type="http://schemas.openxmlformats.org/officeDocument/2006/relationships/tags" Target="../tags/tag22.xml"/><Relationship Id="rId7" Type="http://schemas.openxmlformats.org/officeDocument/2006/relationships/slideLayout" Target="../slideLayouts/slideLayout26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9" Type="http://schemas.openxmlformats.org/officeDocument/2006/relationships/slideLayout" Target="../slideLayouts/slideLayout291.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40" Type="http://schemas.openxmlformats.org/officeDocument/2006/relationships/slideLayout" Target="../slideLayouts/slideLayout302.xml"/><Relationship Id="rId45" Type="http://schemas.openxmlformats.org/officeDocument/2006/relationships/theme" Target="../theme/theme8.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49" Type="http://schemas.openxmlformats.org/officeDocument/2006/relationships/image" Target="../media/image13.emf"/><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4" Type="http://schemas.openxmlformats.org/officeDocument/2006/relationships/slideLayout" Target="../slideLayouts/slideLayout306.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43" Type="http://schemas.openxmlformats.org/officeDocument/2006/relationships/slideLayout" Target="../slideLayouts/slideLayout305.xml"/><Relationship Id="rId48" Type="http://schemas.openxmlformats.org/officeDocument/2006/relationships/tags" Target="../tags/tag23.xml"/><Relationship Id="rId8" Type="http://schemas.openxmlformats.org/officeDocument/2006/relationships/slideLayout" Target="../slideLayouts/slideLayout270.xml"/><Relationship Id="rId3" Type="http://schemas.openxmlformats.org/officeDocument/2006/relationships/slideLayout" Target="../slideLayouts/slideLayout265.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46" Type="http://schemas.openxmlformats.org/officeDocument/2006/relationships/tags" Target="../tags/tag21.xml"/><Relationship Id="rId20" Type="http://schemas.openxmlformats.org/officeDocument/2006/relationships/slideLayout" Target="../slideLayouts/slideLayout282.xml"/><Relationship Id="rId41" Type="http://schemas.openxmlformats.org/officeDocument/2006/relationships/slideLayout" Target="../slideLayouts/slideLayout303.xml"/><Relationship Id="rId1" Type="http://schemas.openxmlformats.org/officeDocument/2006/relationships/slideLayout" Target="../slideLayouts/slideLayout263.xml"/><Relationship Id="rId6" Type="http://schemas.openxmlformats.org/officeDocument/2006/relationships/slideLayout" Target="../slideLayouts/slideLayout26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9" Type="http://schemas.openxmlformats.org/officeDocument/2006/relationships/slideLayout" Target="../slideLayouts/slideLayout345.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42" Type="http://schemas.openxmlformats.org/officeDocument/2006/relationships/slideLayout" Target="../slideLayouts/slideLayout348.xml"/><Relationship Id="rId47" Type="http://schemas.openxmlformats.org/officeDocument/2006/relationships/tags" Target="../tags/tag24.xml"/><Relationship Id="rId50" Type="http://schemas.openxmlformats.org/officeDocument/2006/relationships/image" Target="../media/image13.emf"/><Relationship Id="rId7" Type="http://schemas.openxmlformats.org/officeDocument/2006/relationships/slideLayout" Target="../slideLayouts/slideLayout313.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9" Type="http://schemas.openxmlformats.org/officeDocument/2006/relationships/slideLayout" Target="../slideLayouts/slideLayout335.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40" Type="http://schemas.openxmlformats.org/officeDocument/2006/relationships/slideLayout" Target="../slideLayouts/slideLayout346.xml"/><Relationship Id="rId45" Type="http://schemas.openxmlformats.org/officeDocument/2006/relationships/slideLayout" Target="../slideLayouts/slideLayout351.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49" Type="http://schemas.openxmlformats.org/officeDocument/2006/relationships/tags" Target="../tags/tag26.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4" Type="http://schemas.openxmlformats.org/officeDocument/2006/relationships/slideLayout" Target="../slideLayouts/slideLayout350.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 Id="rId43" Type="http://schemas.openxmlformats.org/officeDocument/2006/relationships/slideLayout" Target="../slideLayouts/slideLayout349.xml"/><Relationship Id="rId48" Type="http://schemas.openxmlformats.org/officeDocument/2006/relationships/tags" Target="../tags/tag25.xml"/><Relationship Id="rId8" Type="http://schemas.openxmlformats.org/officeDocument/2006/relationships/slideLayout" Target="../slideLayouts/slideLayout314.xml"/><Relationship Id="rId3" Type="http://schemas.openxmlformats.org/officeDocument/2006/relationships/slideLayout" Target="../slideLayouts/slideLayout309.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slideLayout" Target="../slideLayouts/slideLayout344.xml"/><Relationship Id="rId46" Type="http://schemas.openxmlformats.org/officeDocument/2006/relationships/theme" Target="../theme/theme9.xml"/><Relationship Id="rId20" Type="http://schemas.openxmlformats.org/officeDocument/2006/relationships/slideLayout" Target="../slideLayouts/slideLayout326.xml"/><Relationship Id="rId41" Type="http://schemas.openxmlformats.org/officeDocument/2006/relationships/slideLayout" Target="../slideLayouts/slideLayout347.xml"/><Relationship Id="rId1" Type="http://schemas.openxmlformats.org/officeDocument/2006/relationships/slideLayout" Target="../slideLayouts/slideLayout307.xml"/><Relationship Id="rId6" Type="http://schemas.openxmlformats.org/officeDocument/2006/relationships/slideLayout" Target="../slideLayouts/slideLayout3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5053938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07368960"/>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rgbClr val="000000"/>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477994344"/>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5C57D819-069B-3C3A-3AAC-D612554A0655}"/>
              </a:ext>
              <a:ext uri="{C183D7F6-B498-43B3-948B-1728B52AA6E4}">
                <adec:decorative xmlns:adec="http://schemas.microsoft.com/office/drawing/2017/decorative" val="1"/>
              </a:ext>
            </a:extLst>
          </p:cNvPr>
          <p:cNvSpPr/>
          <p:nvPr userDrawn="1">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83BED86E-11F0-B790-28C4-4C9B97484470}"/>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17885918"/>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 id="2147483924" r:id="rId27"/>
    <p:sldLayoutId id="2147483925" r:id="rId28"/>
    <p:sldLayoutId id="2147483926" r:id="rId29"/>
    <p:sldLayoutId id="2147483927" r:id="rId30"/>
    <p:sldLayoutId id="2147483928" r:id="rId31"/>
    <p:sldLayoutId id="2147483929" r:id="rId32"/>
    <p:sldLayoutId id="2147483930" r:id="rId33"/>
    <p:sldLayoutId id="2147483931" r:id="rId34"/>
    <p:sldLayoutId id="2147483932" r:id="rId35"/>
    <p:sldLayoutId id="2147483933" r:id="rId36"/>
    <p:sldLayoutId id="2147483934" r:id="rId37"/>
    <p:sldLayoutId id="2147483935" r:id="rId38"/>
    <p:sldLayoutId id="2147483936" r:id="rId39"/>
    <p:sldLayoutId id="2147483937" r:id="rId40"/>
    <p:sldLayoutId id="2147483938" r:id="rId41"/>
    <p:sldLayoutId id="2147483939" r:id="rId42"/>
    <p:sldLayoutId id="2147483940" r:id="rId43"/>
    <p:sldLayoutId id="2147483941" r:id="rId44"/>
    <p:sldLayoutId id="2147483942" r:id="rId45"/>
    <p:sldLayoutId id="2147483943" r:id="rId46"/>
    <p:sldLayoutId id="2147483744" r:id="rId47"/>
    <p:sldLayoutId id="2147483707" r:id="rId48"/>
    <p:sldLayoutId id="2147483708" r:id="rId49"/>
    <p:sldLayoutId id="2147483737" r:id="rId50"/>
    <p:sldLayoutId id="2147483727" r:id="rId51"/>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3537871"/>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 id="2147483974" r:id="rId30"/>
    <p:sldLayoutId id="2147483975" r:id="rId31"/>
    <p:sldLayoutId id="2147483976" r:id="rId32"/>
    <p:sldLayoutId id="2147483977" r:id="rId33"/>
    <p:sldLayoutId id="2147483978" r:id="rId34"/>
    <p:sldLayoutId id="2147483979" r:id="rId35"/>
    <p:sldLayoutId id="2147483980" r:id="rId36"/>
    <p:sldLayoutId id="2147483981" r:id="rId37"/>
    <p:sldLayoutId id="2147483982" r:id="rId38"/>
    <p:sldLayoutId id="2147483983" r:id="rId39"/>
    <p:sldLayoutId id="2147483984" r:id="rId40"/>
    <p:sldLayoutId id="2147483985" r:id="rId41"/>
    <p:sldLayoutId id="2147483986" r:id="rId42"/>
    <p:sldLayoutId id="2147483987" r:id="rId43"/>
    <p:sldLayoutId id="2147483988"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C5106EEE-B6ED-91DA-CD2C-B060D47AE26D}"/>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761395715"/>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4017" r:id="rId28"/>
    <p:sldLayoutId id="2147484018" r:id="rId29"/>
    <p:sldLayoutId id="2147484019" r:id="rId30"/>
    <p:sldLayoutId id="2147484020" r:id="rId31"/>
    <p:sldLayoutId id="2147484021" r:id="rId32"/>
    <p:sldLayoutId id="2147484022" r:id="rId33"/>
    <p:sldLayoutId id="2147484023" r:id="rId34"/>
    <p:sldLayoutId id="2147484024" r:id="rId35"/>
    <p:sldLayoutId id="2147484025" r:id="rId36"/>
    <p:sldLayoutId id="2147484026" r:id="rId37"/>
    <p:sldLayoutId id="2147484027" r:id="rId38"/>
    <p:sldLayoutId id="2147484028" r:id="rId39"/>
    <p:sldLayoutId id="2147484029" r:id="rId40"/>
    <p:sldLayoutId id="2147484030" r:id="rId41"/>
    <p:sldLayoutId id="2147484031" r:id="rId42"/>
    <p:sldLayoutId id="2147484032" r:id="rId43"/>
    <p:sldLayoutId id="2147484033" r:id="rId44"/>
    <p:sldLayoutId id="2147484034" r:id="rId45"/>
    <p:sldLayoutId id="2147484035" r:id="rId46"/>
    <p:sldLayoutId id="2147483756" r:id="rId47"/>
    <p:sldLayoutId id="2147483757" r:id="rId48"/>
    <p:sldLayoutId id="2147483758" r:id="rId49"/>
    <p:sldLayoutId id="2147483760" r:id="rId50"/>
    <p:sldLayoutId id="2147483762" r:id="rId51"/>
    <p:sldLayoutId id="2147483763" r:id="rId52"/>
    <p:sldLayoutId id="2147483764" r:id="rId53"/>
    <p:sldLayoutId id="2147483781" r:id="rId54"/>
  </p:sldLayoutIdLst>
  <p:hf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42743176-B5CF-6901-2B3F-ED45384484A7}"/>
              </a:ext>
            </a:extLst>
          </p:cNvPr>
          <p:cNvPicPr>
            <a:picLocks noChangeAspect="1"/>
          </p:cNvPicPr>
          <p:nvPr userDrawn="1"/>
        </p:nvPicPr>
        <p:blipFill>
          <a:blip r:embed="rId53"/>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99169011"/>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 id="2147484103" r:id="rId21"/>
    <p:sldLayoutId id="2147484104" r:id="rId22"/>
    <p:sldLayoutId id="2147484105" r:id="rId23"/>
    <p:sldLayoutId id="2147484106" r:id="rId24"/>
    <p:sldLayoutId id="2147484107" r:id="rId25"/>
    <p:sldLayoutId id="2147484108" r:id="rId26"/>
    <p:sldLayoutId id="2147484109" r:id="rId27"/>
    <p:sldLayoutId id="2147484110" r:id="rId28"/>
    <p:sldLayoutId id="2147484111" r:id="rId29"/>
    <p:sldLayoutId id="2147484112" r:id="rId30"/>
    <p:sldLayoutId id="2147484113" r:id="rId31"/>
    <p:sldLayoutId id="2147484114" r:id="rId32"/>
    <p:sldLayoutId id="2147484115" r:id="rId33"/>
    <p:sldLayoutId id="2147484116" r:id="rId34"/>
    <p:sldLayoutId id="2147484117" r:id="rId35"/>
    <p:sldLayoutId id="2147484118" r:id="rId36"/>
    <p:sldLayoutId id="2147484119" r:id="rId37"/>
    <p:sldLayoutId id="2147484120" r:id="rId38"/>
    <p:sldLayoutId id="2147484121" r:id="rId39"/>
    <p:sldLayoutId id="2147484122" r:id="rId40"/>
    <p:sldLayoutId id="2147484123" r:id="rId41"/>
    <p:sldLayoutId id="2147484124" r:id="rId42"/>
    <p:sldLayoutId id="2147484125" r:id="rId43"/>
    <p:sldLayoutId id="2147484126" r:id="rId44"/>
    <p:sldLayoutId id="2147484127" r:id="rId45"/>
    <p:sldLayoutId id="2147484128" r:id="rId46"/>
    <p:sldLayoutId id="2147484129" r:id="rId47"/>
  </p:sldLayoutIdLst>
  <p:transition>
    <p:fade/>
  </p:transition>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3097635"/>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 id="2147484143" r:id="rId13"/>
    <p:sldLayoutId id="2147484144" r:id="rId14"/>
    <p:sldLayoutId id="2147484145" r:id="rId15"/>
    <p:sldLayoutId id="2147484146" r:id="rId16"/>
    <p:sldLayoutId id="2147484147" r:id="rId17"/>
    <p:sldLayoutId id="2147484148" r:id="rId18"/>
    <p:sldLayoutId id="2147484149" r:id="rId19"/>
    <p:sldLayoutId id="2147484150" r:id="rId20"/>
    <p:sldLayoutId id="2147484151" r:id="rId21"/>
    <p:sldLayoutId id="2147484152" r:id="rId22"/>
    <p:sldLayoutId id="2147484153" r:id="rId23"/>
    <p:sldLayoutId id="2147484154" r:id="rId24"/>
    <p:sldLayoutId id="2147484155" r:id="rId25"/>
    <p:sldLayoutId id="2147484156" r:id="rId26"/>
    <p:sldLayoutId id="2147484157" r:id="rId27"/>
    <p:sldLayoutId id="2147484158" r:id="rId28"/>
    <p:sldLayoutId id="2147484159" r:id="rId29"/>
    <p:sldLayoutId id="2147484160" r:id="rId30"/>
    <p:sldLayoutId id="2147484161" r:id="rId31"/>
    <p:sldLayoutId id="2147484162" r:id="rId32"/>
    <p:sldLayoutId id="2147484163" r:id="rId33"/>
    <p:sldLayoutId id="2147484164" r:id="rId34"/>
    <p:sldLayoutId id="2147484165" r:id="rId35"/>
    <p:sldLayoutId id="2147484166" r:id="rId36"/>
    <p:sldLayoutId id="2147484167" r:id="rId37"/>
    <p:sldLayoutId id="2147484168" r:id="rId38"/>
    <p:sldLayoutId id="2147484169" r:id="rId39"/>
    <p:sldLayoutId id="2147484170" r:id="rId40"/>
    <p:sldLayoutId id="2147484171" r:id="rId41"/>
    <p:sldLayoutId id="2147484172" r:id="rId42"/>
    <p:sldLayoutId id="2147484173" r:id="rId43"/>
    <p:sldLayoutId id="2147484174"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3133554"/>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 id="2147484195" r:id="rId20"/>
    <p:sldLayoutId id="2147484196" r:id="rId21"/>
    <p:sldLayoutId id="2147484197" r:id="rId22"/>
    <p:sldLayoutId id="2147484198" r:id="rId23"/>
    <p:sldLayoutId id="2147484199" r:id="rId24"/>
    <p:sldLayoutId id="2147484200" r:id="rId25"/>
    <p:sldLayoutId id="2147484201" r:id="rId26"/>
    <p:sldLayoutId id="2147484202" r:id="rId27"/>
    <p:sldLayoutId id="2147484203" r:id="rId28"/>
    <p:sldLayoutId id="2147484204" r:id="rId29"/>
    <p:sldLayoutId id="2147484205" r:id="rId30"/>
    <p:sldLayoutId id="2147484206" r:id="rId31"/>
    <p:sldLayoutId id="2147484207" r:id="rId32"/>
    <p:sldLayoutId id="2147484208" r:id="rId33"/>
    <p:sldLayoutId id="2147484209" r:id="rId34"/>
    <p:sldLayoutId id="2147484210" r:id="rId35"/>
    <p:sldLayoutId id="2147484211" r:id="rId36"/>
    <p:sldLayoutId id="2147484212" r:id="rId37"/>
    <p:sldLayoutId id="2147484213" r:id="rId38"/>
    <p:sldLayoutId id="2147484214" r:id="rId39"/>
    <p:sldLayoutId id="2147484215" r:id="rId40"/>
    <p:sldLayoutId id="2147484216" r:id="rId41"/>
    <p:sldLayoutId id="2147484217" r:id="rId42"/>
    <p:sldLayoutId id="2147484218" r:id="rId43"/>
    <p:sldLayoutId id="2147484219" r:id="rId44"/>
    <p:sldLayoutId id="2147484220" r:id="rId45"/>
  </p:sldLayoutIdLst>
  <p:hf sldNum="0" hdr="0" ftr="0" dt="0"/>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69.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7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6.xml"/><Relationship Id="rId1" Type="http://schemas.openxmlformats.org/officeDocument/2006/relationships/tags" Target="../tags/tag29.xml"/><Relationship Id="rId4" Type="http://schemas.openxmlformats.org/officeDocument/2006/relationships/image" Target="../media/image21.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2.jpeg"/><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27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6.png"/><Relationship Id="rId2" Type="http://schemas.openxmlformats.org/officeDocument/2006/relationships/customXml" Target="../../customXml/item8.xml"/><Relationship Id="rId1" Type="http://schemas.openxmlformats.org/officeDocument/2006/relationships/tags" Target="../tags/tag32.xml"/><Relationship Id="rId6" Type="http://schemas.openxmlformats.org/officeDocument/2006/relationships/notesSlide" Target="../notesSlides/notesSlide12.xml"/><Relationship Id="rId5" Type="http://schemas.openxmlformats.org/officeDocument/2006/relationships/slideLayout" Target="../slideLayouts/slideLayout75.xml"/><Relationship Id="rId4" Type="http://schemas.openxmlformats.org/officeDocument/2006/relationships/tags" Target="../tags/tag33.xml"/></Relationships>
</file>

<file path=ppt/slides/_rels/slide17.xml.rels><?xml version="1.0" encoding="UTF-8" standalone="yes"?>
<Relationships xmlns="http://schemas.openxmlformats.org/package/2006/relationships"><Relationship Id="rId8" Type="http://schemas.openxmlformats.org/officeDocument/2006/relationships/image" Target="../media/image23.gif"/><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7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4.xml"/><Relationship Id="rId1" Type="http://schemas.openxmlformats.org/officeDocument/2006/relationships/slideLayout" Target="../slideLayouts/slideLayout7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5.xml"/><Relationship Id="rId1" Type="http://schemas.openxmlformats.org/officeDocument/2006/relationships/slideLayout" Target="../slideLayouts/slideLayout7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314.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7.xml"/><Relationship Id="rId7" Type="http://schemas.openxmlformats.org/officeDocument/2006/relationships/diagramColors" Target="../diagrams/colors8.xml"/><Relationship Id="rId2" Type="http://schemas.openxmlformats.org/officeDocument/2006/relationships/slideLayout" Target="../slideLayouts/slideLayout74.xml"/><Relationship Id="rId1" Type="http://schemas.openxmlformats.org/officeDocument/2006/relationships/tags" Target="../tags/tag3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7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8.xml"/><Relationship Id="rId1" Type="http://schemas.openxmlformats.org/officeDocument/2006/relationships/slideLayout" Target="../slideLayouts/slideLayout7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74.xml"/></Relationships>
</file>

<file path=ppt/slides/_rels/slide25.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0.xml"/><Relationship Id="rId7" Type="http://schemas.openxmlformats.org/officeDocument/2006/relationships/diagramColors" Target="../diagrams/colors11.xml"/><Relationship Id="rId2" Type="http://schemas.openxmlformats.org/officeDocument/2006/relationships/slideLayout" Target="../slideLayouts/slideLayout74.xml"/><Relationship Id="rId1" Type="http://schemas.openxmlformats.org/officeDocument/2006/relationships/tags" Target="../tags/tag36.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6.xml"/><Relationship Id="rId1" Type="http://schemas.openxmlformats.org/officeDocument/2006/relationships/tags" Target="../tags/tag37.xml"/><Relationship Id="rId4" Type="http://schemas.openxmlformats.org/officeDocument/2006/relationships/image" Target="../media/image21.jpeg"/></Relationships>
</file>

<file path=ppt/slides/_rels/slide27.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22.xml"/><Relationship Id="rId7" Type="http://schemas.openxmlformats.org/officeDocument/2006/relationships/diagramColors" Target="../diagrams/colors12.xml"/><Relationship Id="rId2" Type="http://schemas.openxmlformats.org/officeDocument/2006/relationships/slideLayout" Target="../slideLayouts/slideLayout75.xml"/><Relationship Id="rId1" Type="http://schemas.openxmlformats.org/officeDocument/2006/relationships/tags" Target="../tags/tag38.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2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3.xml"/><Relationship Id="rId1" Type="http://schemas.openxmlformats.org/officeDocument/2006/relationships/slideLayout" Target="../slideLayouts/slideLayout271.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8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8.png"/><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86.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2.jpeg"/><Relationship Id="rId4"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6.xml"/><Relationship Id="rId1" Type="http://schemas.openxmlformats.org/officeDocument/2006/relationships/slideLayout" Target="../slideLayouts/slideLayout276.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16.png"/><Relationship Id="rId2" Type="http://schemas.openxmlformats.org/officeDocument/2006/relationships/customXml" Target="../../customXml/item10.xml"/><Relationship Id="rId1" Type="http://schemas.openxmlformats.org/officeDocument/2006/relationships/tags" Target="../tags/tag44.xml"/><Relationship Id="rId6" Type="http://schemas.openxmlformats.org/officeDocument/2006/relationships/notesSlide" Target="../notesSlides/notesSlide27.xml"/><Relationship Id="rId5" Type="http://schemas.openxmlformats.org/officeDocument/2006/relationships/slideLayout" Target="../slideLayouts/slideLayout75.xml"/><Relationship Id="rId4" Type="http://schemas.openxmlformats.org/officeDocument/2006/relationships/tags" Target="../tags/tag45.xml"/></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75.xml"/></Relationships>
</file>

<file path=ppt/slides/_rels/slide35.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29.xml"/><Relationship Id="rId7" Type="http://schemas.openxmlformats.org/officeDocument/2006/relationships/diagramColors" Target="../diagrams/colors15.xml"/><Relationship Id="rId2" Type="http://schemas.openxmlformats.org/officeDocument/2006/relationships/slideLayout" Target="../slideLayouts/slideLayout262.xml"/><Relationship Id="rId1" Type="http://schemas.openxmlformats.org/officeDocument/2006/relationships/tags" Target="../tags/tag46.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3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0.xml"/><Relationship Id="rId1" Type="http://schemas.openxmlformats.org/officeDocument/2006/relationships/slideLayout" Target="../slideLayouts/slideLayout75.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74.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2.xml"/><Relationship Id="rId1" Type="http://schemas.openxmlformats.org/officeDocument/2006/relationships/slideLayout" Target="../slideLayouts/slideLayout74.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3.xml"/><Relationship Id="rId1" Type="http://schemas.openxmlformats.org/officeDocument/2006/relationships/slideLayout" Target="../slideLayouts/slideLayout75.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5.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5.xml"/><Relationship Id="rId1" Type="http://schemas.openxmlformats.org/officeDocument/2006/relationships/slideLayout" Target="../slideLayouts/slideLayout74.xml"/></Relationships>
</file>

<file path=ppt/slides/_rels/slide4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6.xml"/><Relationship Id="rId1" Type="http://schemas.openxmlformats.org/officeDocument/2006/relationships/slideLayout" Target="../slideLayouts/slideLayout74.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2.jpeg"/><Relationship Id="rId4" Type="http://schemas.openxmlformats.org/officeDocument/2006/relationships/notesSlide" Target="../notesSlides/notesSlide37.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8.xml"/><Relationship Id="rId1" Type="http://schemas.openxmlformats.org/officeDocument/2006/relationships/slideLayout" Target="../slideLayouts/slideLayout80.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6.xml.rels><?xml version="1.0" encoding="UTF-8" standalone="yes"?>
<Relationships xmlns="http://schemas.openxmlformats.org/package/2006/relationships"><Relationship Id="rId3" Type="http://schemas.openxmlformats.org/officeDocument/2006/relationships/customXml" Target="../../customXml/item13.xml"/><Relationship Id="rId7" Type="http://schemas.openxmlformats.org/officeDocument/2006/relationships/image" Target="../media/image16.png"/><Relationship Id="rId2" Type="http://schemas.openxmlformats.org/officeDocument/2006/relationships/customXml" Target="../../customXml/item12.xml"/><Relationship Id="rId1" Type="http://schemas.openxmlformats.org/officeDocument/2006/relationships/tags" Target="../tags/tag50.xml"/><Relationship Id="rId6" Type="http://schemas.openxmlformats.org/officeDocument/2006/relationships/notesSlide" Target="../notesSlides/notesSlide39.xml"/><Relationship Id="rId5" Type="http://schemas.openxmlformats.org/officeDocument/2006/relationships/slideLayout" Target="../slideLayouts/slideLayout75.xml"/><Relationship Id="rId4" Type="http://schemas.openxmlformats.org/officeDocument/2006/relationships/tags" Target="../tags/tag51.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0.xml"/><Relationship Id="rId1" Type="http://schemas.openxmlformats.org/officeDocument/2006/relationships/slideLayout" Target="../slideLayouts/slideLayout75.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1.xml"/><Relationship Id="rId1" Type="http://schemas.openxmlformats.org/officeDocument/2006/relationships/slideLayout" Target="../slideLayouts/slideLayout75.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42.xml"/><Relationship Id="rId1" Type="http://schemas.openxmlformats.org/officeDocument/2006/relationships/slideLayout" Target="../slideLayouts/slideLayout75.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16.png"/><Relationship Id="rId2" Type="http://schemas.openxmlformats.org/officeDocument/2006/relationships/customXml" Target="../../customXml/item6.xml"/><Relationship Id="rId1" Type="http://schemas.openxmlformats.org/officeDocument/2006/relationships/tags" Target="../tags/tag27.xml"/><Relationship Id="rId6" Type="http://schemas.openxmlformats.org/officeDocument/2006/relationships/notesSlide" Target="../notesSlides/notesSlide2.xml"/><Relationship Id="rId5" Type="http://schemas.openxmlformats.org/officeDocument/2006/relationships/slideLayout" Target="../slideLayouts/slideLayout75.xml"/><Relationship Id="rId4" Type="http://schemas.openxmlformats.org/officeDocument/2006/relationships/tags" Target="../tags/tag28.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43.xml"/><Relationship Id="rId1" Type="http://schemas.openxmlformats.org/officeDocument/2006/relationships/slideLayout" Target="../slideLayouts/slideLayout75.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4.xml"/><Relationship Id="rId1" Type="http://schemas.openxmlformats.org/officeDocument/2006/relationships/slideLayout" Target="../slideLayouts/slideLayout75.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45.xml"/><Relationship Id="rId1" Type="http://schemas.openxmlformats.org/officeDocument/2006/relationships/slideLayout" Target="../slideLayouts/slideLayout75.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53.xml.rels><?xml version="1.0" encoding="UTF-8" standalone="yes"?>
<Relationships xmlns="http://schemas.openxmlformats.org/package/2006/relationships"><Relationship Id="rId8" Type="http://schemas.openxmlformats.org/officeDocument/2006/relationships/hyperlink" Target="https://techcommunity.microsoft.com/t5/sql-server/tempdb-files-and-trace-flags-and-updates-oh-my/ba-p/385937" TargetMode="External"/><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46.xml"/><Relationship Id="rId1" Type="http://schemas.openxmlformats.org/officeDocument/2006/relationships/slideLayout" Target="../slideLayouts/slideLayout75.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 Id="rId9" Type="http://schemas.openxmlformats.org/officeDocument/2006/relationships/hyperlink" Target="https://www.youtube.com/watch?v=g4aemv5O9as&amp;t=1s" TargetMode="External"/></Relationships>
</file>

<file path=ppt/slides/_rels/slide54.xml.rels><?xml version="1.0" encoding="UTF-8" standalone="yes"?>
<Relationships xmlns="http://schemas.openxmlformats.org/package/2006/relationships"><Relationship Id="rId8" Type="http://schemas.microsoft.com/office/2007/relationships/diagramDrawing" Target="../diagrams/drawing27.xml"/><Relationship Id="rId3" Type="http://schemas.openxmlformats.org/officeDocument/2006/relationships/image" Target="../media/image32.png"/><Relationship Id="rId7" Type="http://schemas.openxmlformats.org/officeDocument/2006/relationships/diagramColors" Target="../diagrams/colors27.xml"/><Relationship Id="rId2" Type="http://schemas.openxmlformats.org/officeDocument/2006/relationships/notesSlide" Target="../notesSlides/notesSlide47.xml"/><Relationship Id="rId1" Type="http://schemas.openxmlformats.org/officeDocument/2006/relationships/slideLayout" Target="../slideLayouts/slideLayout75.xml"/><Relationship Id="rId6" Type="http://schemas.openxmlformats.org/officeDocument/2006/relationships/diagramQuickStyle" Target="../diagrams/quickStyle27.xml"/><Relationship Id="rId5" Type="http://schemas.openxmlformats.org/officeDocument/2006/relationships/diagramLayout" Target="../diagrams/layout27.xml"/><Relationship Id="rId4" Type="http://schemas.openxmlformats.org/officeDocument/2006/relationships/diagramData" Target="../diagrams/data27.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8.png"/><Relationship Id="rId4" Type="http://schemas.openxmlformats.org/officeDocument/2006/relationships/notesSlide" Target="../notesSlides/notesSlide48.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2.jpeg"/><Relationship Id="rId4" Type="http://schemas.openxmlformats.org/officeDocument/2006/relationships/notesSlide" Target="../notesSlides/notesSlide49.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50.xml"/><Relationship Id="rId1" Type="http://schemas.openxmlformats.org/officeDocument/2006/relationships/slideLayout" Target="../slideLayouts/slideLayout80.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2.xml"/></Relationships>
</file>

<file path=ppt/slides/_rels/slide59.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16.png"/><Relationship Id="rId2" Type="http://schemas.openxmlformats.org/officeDocument/2006/relationships/customXml" Target="../../customXml/item14.xml"/><Relationship Id="rId1" Type="http://schemas.openxmlformats.org/officeDocument/2006/relationships/tags" Target="../tags/tag56.xml"/><Relationship Id="rId6" Type="http://schemas.openxmlformats.org/officeDocument/2006/relationships/notesSlide" Target="../notesSlides/notesSlide52.xml"/><Relationship Id="rId5" Type="http://schemas.openxmlformats.org/officeDocument/2006/relationships/slideLayout" Target="../slideLayouts/slideLayout75.xml"/><Relationship Id="rId4" Type="http://schemas.openxmlformats.org/officeDocument/2006/relationships/tags" Target="../tags/tag57.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8" Type="http://schemas.openxmlformats.org/officeDocument/2006/relationships/diagramData" Target="../diagrams/data30.xml"/><Relationship Id="rId3" Type="http://schemas.openxmlformats.org/officeDocument/2006/relationships/diagramData" Target="../diagrams/data29.xml"/><Relationship Id="rId7" Type="http://schemas.microsoft.com/office/2007/relationships/diagramDrawing" Target="../diagrams/drawing29.xml"/><Relationship Id="rId12" Type="http://schemas.microsoft.com/office/2007/relationships/diagramDrawing" Target="../diagrams/drawing30.xml"/><Relationship Id="rId2" Type="http://schemas.openxmlformats.org/officeDocument/2006/relationships/notesSlide" Target="../notesSlides/notesSlide53.xml"/><Relationship Id="rId1" Type="http://schemas.openxmlformats.org/officeDocument/2006/relationships/slideLayout" Target="../slideLayouts/slideLayout74.xml"/><Relationship Id="rId6" Type="http://schemas.openxmlformats.org/officeDocument/2006/relationships/diagramColors" Target="../diagrams/colors29.xml"/><Relationship Id="rId11" Type="http://schemas.openxmlformats.org/officeDocument/2006/relationships/diagramColors" Target="../diagrams/colors30.xml"/><Relationship Id="rId5" Type="http://schemas.openxmlformats.org/officeDocument/2006/relationships/diagramQuickStyle" Target="../diagrams/quickStyle29.xml"/><Relationship Id="rId10" Type="http://schemas.openxmlformats.org/officeDocument/2006/relationships/diagramQuickStyle" Target="../diagrams/quickStyle30.xml"/><Relationship Id="rId4" Type="http://schemas.openxmlformats.org/officeDocument/2006/relationships/diagramLayout" Target="../diagrams/layout29.xml"/><Relationship Id="rId9" Type="http://schemas.openxmlformats.org/officeDocument/2006/relationships/diagramLayout" Target="../diagrams/layout30.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54.xml"/><Relationship Id="rId1" Type="http://schemas.openxmlformats.org/officeDocument/2006/relationships/slideLayout" Target="../slideLayouts/slideLayout74.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4.xml"/></Relationships>
</file>

<file path=ppt/slides/_rels/slide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6.xml"/><Relationship Id="rId1" Type="http://schemas.openxmlformats.org/officeDocument/2006/relationships/slideLayout" Target="../slideLayouts/slideLayout74.xml"/></Relationships>
</file>

<file path=ppt/slides/_rels/slide6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7.xml"/><Relationship Id="rId1" Type="http://schemas.openxmlformats.org/officeDocument/2006/relationships/slideLayout" Target="../slideLayouts/slideLayout74.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58.xml"/><Relationship Id="rId1" Type="http://schemas.openxmlformats.org/officeDocument/2006/relationships/slideLayout" Target="../slideLayouts/slideLayout74.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4.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60.xml"/><Relationship Id="rId1" Type="http://schemas.openxmlformats.org/officeDocument/2006/relationships/slideLayout" Target="../slideLayouts/slideLayout74.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86.xml"/><Relationship Id="rId1" Type="http://schemas.openxmlformats.org/officeDocument/2006/relationships/tags" Target="../tags/tag58.xml"/><Relationship Id="rId4" Type="http://schemas.openxmlformats.org/officeDocument/2006/relationships/image" Target="../media/image21.jpeg"/></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22.jpeg"/><Relationship Id="rId4" Type="http://schemas.openxmlformats.org/officeDocument/2006/relationships/notesSlide" Target="../notesSlides/notesSlide6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70.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63.xml"/><Relationship Id="rId1" Type="http://schemas.openxmlformats.org/officeDocument/2006/relationships/slideLayout" Target="../slideLayouts/slideLayout80.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7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I/O and Database Structu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3</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655638" y="320040"/>
            <a:ext cx="10880725" cy="461665"/>
          </a:xfrm>
        </p:spPr>
        <p:txBody>
          <a:bodyPr wrap="square" anchor="t">
            <a:normAutofit/>
          </a:bodyPr>
          <a:lstStyle/>
          <a:p>
            <a:r>
              <a:rPr lang="en-US" dirty="0"/>
              <a:t>DBCC PAGE</a:t>
            </a:r>
          </a:p>
        </p:txBody>
      </p:sp>
      <p:pic>
        <p:nvPicPr>
          <p:cNvPr id="4" name="Picture 3">
            <a:extLst>
              <a:ext uri="{FF2B5EF4-FFF2-40B4-BE49-F238E27FC236}">
                <a16:creationId xmlns:a16="http://schemas.microsoft.com/office/drawing/2014/main" id="{E5A13A27-943C-28E5-D33F-E4A1B62CB411}"/>
              </a:ext>
            </a:extLst>
          </p:cNvPr>
          <p:cNvPicPr>
            <a:picLocks noChangeAspect="1"/>
          </p:cNvPicPr>
          <p:nvPr/>
        </p:nvPicPr>
        <p:blipFill>
          <a:blip r:embed="rId3"/>
          <a:stretch>
            <a:fillRect/>
          </a:stretch>
        </p:blipFill>
        <p:spPr>
          <a:xfrm>
            <a:off x="1861421" y="1119829"/>
            <a:ext cx="8469158" cy="521902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999677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C0A7B-81E0-4AD6-8CB1-79618B186971}"/>
              </a:ext>
            </a:extLst>
          </p:cNvPr>
          <p:cNvSpPr>
            <a:spLocks noGrp="1"/>
          </p:cNvSpPr>
          <p:nvPr>
            <p:ph type="title"/>
          </p:nvPr>
        </p:nvSpPr>
        <p:spPr/>
        <p:txBody>
          <a:bodyPr/>
          <a:lstStyle/>
          <a:p>
            <a:r>
              <a:rPr lang="en-US" dirty="0"/>
              <a:t>New DMF</a:t>
            </a:r>
          </a:p>
        </p:txBody>
      </p:sp>
      <p:sp>
        <p:nvSpPr>
          <p:cNvPr id="3" name="Subtitle 2">
            <a:extLst>
              <a:ext uri="{FF2B5EF4-FFF2-40B4-BE49-F238E27FC236}">
                <a16:creationId xmlns:a16="http://schemas.microsoft.com/office/drawing/2014/main" id="{80079579-A2FF-4181-B21D-2CF51E5D6122}"/>
              </a:ext>
            </a:extLst>
          </p:cNvPr>
          <p:cNvSpPr>
            <a:spLocks noGrp="1"/>
          </p:cNvSpPr>
          <p:nvPr>
            <p:ph type="subTitle" idx="1"/>
          </p:nvPr>
        </p:nvSpPr>
        <p:spPr/>
        <p:txBody>
          <a:bodyPr/>
          <a:lstStyle/>
          <a:p>
            <a:r>
              <a:rPr lang="en-US" dirty="0">
                <a:solidFill>
                  <a:srgbClr val="107C10"/>
                </a:solidFill>
              </a:rPr>
              <a:t>sys.dm_db_page_info</a:t>
            </a:r>
          </a:p>
        </p:txBody>
      </p:sp>
      <p:sp>
        <p:nvSpPr>
          <p:cNvPr id="4" name="Content Placeholder 3">
            <a:extLst>
              <a:ext uri="{FF2B5EF4-FFF2-40B4-BE49-F238E27FC236}">
                <a16:creationId xmlns:a16="http://schemas.microsoft.com/office/drawing/2014/main" id="{8FE185CA-318A-471D-BC96-F43921339391}"/>
              </a:ext>
            </a:extLst>
          </p:cNvPr>
          <p:cNvSpPr>
            <a:spLocks noGrp="1"/>
          </p:cNvSpPr>
          <p:nvPr>
            <p:ph sz="quarter" idx="13"/>
          </p:nvPr>
        </p:nvSpPr>
        <p:spPr/>
        <p:txBody>
          <a:bodyPr/>
          <a:lstStyle/>
          <a:p>
            <a:r>
              <a:rPr lang="en-US" dirty="0"/>
              <a:t>Returns information about a page in a database. </a:t>
            </a:r>
          </a:p>
          <a:p>
            <a:r>
              <a:rPr lang="en-US" dirty="0"/>
              <a:t>The function returns one row that contains the </a:t>
            </a:r>
            <a:r>
              <a:rPr lang="en-US" b="1" dirty="0"/>
              <a:t>header</a:t>
            </a:r>
            <a:r>
              <a:rPr lang="en-US" dirty="0"/>
              <a:t> information from the page, including the object_id, index_id, and partition_id. </a:t>
            </a:r>
          </a:p>
          <a:p>
            <a:r>
              <a:rPr lang="en-US" dirty="0"/>
              <a:t>This function replaces the need to use DBCC PAGE in most cases.</a:t>
            </a:r>
          </a:p>
          <a:p>
            <a:r>
              <a:rPr lang="en-US" dirty="0"/>
              <a:t>Output sample:</a:t>
            </a:r>
          </a:p>
        </p:txBody>
      </p:sp>
      <p:graphicFrame>
        <p:nvGraphicFramePr>
          <p:cNvPr id="7" name="Diagram 6">
            <a:extLst>
              <a:ext uri="{FF2B5EF4-FFF2-40B4-BE49-F238E27FC236}">
                <a16:creationId xmlns:a16="http://schemas.microsoft.com/office/drawing/2014/main" id="{2B65C78B-CE07-4797-B221-0ED002C91B89}"/>
              </a:ext>
            </a:extLst>
          </p:cNvPr>
          <p:cNvGraphicFramePr/>
          <p:nvPr/>
        </p:nvGraphicFramePr>
        <p:xfrm>
          <a:off x="1717430" y="5136400"/>
          <a:ext cx="8208964" cy="4616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A4A8EB61-1353-4292-B3A9-312105526473}"/>
              </a:ext>
            </a:extLst>
          </p:cNvPr>
          <p:cNvPicPr>
            <a:picLocks noChangeAspect="1"/>
          </p:cNvPicPr>
          <p:nvPr/>
        </p:nvPicPr>
        <p:blipFill>
          <a:blip r:embed="rId8"/>
          <a:stretch>
            <a:fillRect/>
          </a:stretch>
        </p:blipFill>
        <p:spPr>
          <a:xfrm>
            <a:off x="441170" y="3817939"/>
            <a:ext cx="11309658" cy="353427"/>
          </a:xfrm>
          <a:prstGeom prst="rect">
            <a:avLst/>
          </a:prstGeom>
        </p:spPr>
      </p:pic>
    </p:spTree>
    <p:extLst>
      <p:ext uri="{BB962C8B-B14F-4D97-AF65-F5344CB8AC3E}">
        <p14:creationId xmlns:p14="http://schemas.microsoft.com/office/powerpoint/2010/main" val="3677514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Data Page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006523152"/>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76975876"/>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4463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2: SQL Server Disk I/O</a:t>
            </a:r>
          </a:p>
        </p:txBody>
      </p:sp>
    </p:spTree>
    <p:extLst>
      <p:ext uri="{BB962C8B-B14F-4D97-AF65-F5344CB8AC3E}">
        <p14:creationId xmlns:p14="http://schemas.microsoft.com/office/powerpoint/2010/main" val="40837460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Identify SQL Server disk I/O operations.</a:t>
            </a:r>
          </a:p>
          <a:p>
            <a:r>
              <a:rPr lang="en-US" dirty="0"/>
              <a:t>Identify I/O patterns for data files and log files.</a:t>
            </a:r>
          </a:p>
          <a:p>
            <a:r>
              <a:rPr lang="en-US" dirty="0"/>
              <a:t>Monitor SQL Server I/O using:</a:t>
            </a:r>
          </a:p>
          <a:p>
            <a:pPr lvl="1"/>
            <a:r>
              <a:rPr lang="en-US" dirty="0"/>
              <a:t>Performance Monitor Counters</a:t>
            </a:r>
          </a:p>
          <a:p>
            <a:pPr lvl="1"/>
            <a:r>
              <a:rPr lang="en-US" dirty="0"/>
              <a:t>Dynamic Management Views</a:t>
            </a:r>
          </a:p>
          <a:p>
            <a:pPr lvl="1"/>
            <a:r>
              <a:rPr lang="en-US" dirty="0"/>
              <a:t>Wait Statistic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atabase files and filegroup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atabase files</a:t>
            </a:r>
          </a:p>
        </p:txBody>
      </p:sp>
      <p:graphicFrame>
        <p:nvGraphicFramePr>
          <p:cNvPr id="5" name="Content Placeholder 4">
            <a:extLst>
              <a:ext uri="{FF2B5EF4-FFF2-40B4-BE49-F238E27FC236}">
                <a16:creationId xmlns:a16="http://schemas.microsoft.com/office/drawing/2014/main" id="{F06C3C49-98DB-4B1F-90FC-72E180BA3310}"/>
              </a:ext>
            </a:extLst>
          </p:cNvPr>
          <p:cNvGraphicFramePr>
            <a:graphicFrameLocks noGrp="1"/>
          </p:cNvGraphicFramePr>
          <p:nvPr>
            <p:ph sz="quarter" idx="13"/>
            <p:extLst>
              <p:ext uri="{D42A27DB-BD31-4B8C-83A1-F6EECF244321}">
                <p14:modId xmlns:p14="http://schemas.microsoft.com/office/powerpoint/2010/main" val="3154035696"/>
              </p:ext>
            </p:extLst>
          </p:nvPr>
        </p:nvGraphicFramePr>
        <p:xfrm>
          <a:off x="655638" y="1408113"/>
          <a:ext cx="623753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50" name="Picture 2" descr="filegroup_example">
            <a:extLst>
              <a:ext uri="{FF2B5EF4-FFF2-40B4-BE49-F238E27FC236}">
                <a16:creationId xmlns:a16="http://schemas.microsoft.com/office/drawing/2014/main" id="{DA962296-F90D-458A-8D9A-1EF1B01E56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0562" y="2060575"/>
            <a:ext cx="4495800" cy="3514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9928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 patterns:</a:t>
            </a:r>
          </a:p>
        </p:txBody>
      </p:sp>
      <p:graphicFrame>
        <p:nvGraphicFramePr>
          <p:cNvPr id="5" name="Content Placeholder 4">
            <a:extLst>
              <a:ext uri="{FF2B5EF4-FFF2-40B4-BE49-F238E27FC236}">
                <a16:creationId xmlns:a16="http://schemas.microsoft.com/office/drawing/2014/main" id="{7BF6B113-9D4C-4D94-9A53-DD369DA9457A}"/>
              </a:ext>
            </a:extLst>
          </p:cNvPr>
          <p:cNvGraphicFramePr>
            <a:graphicFrameLocks noGrp="1"/>
          </p:cNvGraphicFramePr>
          <p:nvPr>
            <p:ph sz="quarter" idx="13"/>
            <p:extLst>
              <p:ext uri="{D42A27DB-BD31-4B8C-83A1-F6EECF244321}">
                <p14:modId xmlns:p14="http://schemas.microsoft.com/office/powerpoint/2010/main" val="3373477712"/>
              </p:ext>
            </p:extLst>
          </p:nvPr>
        </p:nvGraphicFramePr>
        <p:xfrm>
          <a:off x="655637" y="908492"/>
          <a:ext cx="10880726" cy="5629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53830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atabase files and filegroup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Types of filegroups</a:t>
            </a:r>
          </a:p>
        </p:txBody>
      </p:sp>
      <p:graphicFrame>
        <p:nvGraphicFramePr>
          <p:cNvPr id="5" name="Content Placeholder 4">
            <a:extLst>
              <a:ext uri="{FF2B5EF4-FFF2-40B4-BE49-F238E27FC236}">
                <a16:creationId xmlns:a16="http://schemas.microsoft.com/office/drawing/2014/main" id="{291C9DC9-1986-483A-8AA7-02A5ABC9B810}"/>
              </a:ext>
            </a:extLst>
          </p:cNvPr>
          <p:cNvGraphicFramePr>
            <a:graphicFrameLocks noGrp="1"/>
          </p:cNvGraphicFramePr>
          <p:nvPr>
            <p:ph sz="quarter" idx="13"/>
            <p:extLst>
              <p:ext uri="{D42A27DB-BD31-4B8C-83A1-F6EECF244321}">
                <p14:modId xmlns:p14="http://schemas.microsoft.com/office/powerpoint/2010/main" val="377799594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55057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 (Write-Ahead Logging)</a:t>
            </a:r>
          </a:p>
        </p:txBody>
      </p:sp>
      <p:sp>
        <p:nvSpPr>
          <p:cNvPr id="42" name="TextBox 41">
            <a:extLst>
              <a:ext uri="{FF2B5EF4-FFF2-40B4-BE49-F238E27FC236}">
                <a16:creationId xmlns:a16="http://schemas.microsoft.com/office/drawing/2014/main" id="{58EDF11B-70B2-4486-9590-B12FF615814E}"/>
              </a:ext>
            </a:extLst>
          </p:cNvPr>
          <p:cNvSpPr txBox="1"/>
          <p:nvPr/>
        </p:nvSpPr>
        <p:spPr>
          <a:xfrm>
            <a:off x="634161" y="4286712"/>
            <a:ext cx="2996159" cy="668679"/>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2. Modification is recorded in the log cache.</a:t>
            </a:r>
          </a:p>
        </p:txBody>
      </p:sp>
      <p:sp>
        <p:nvSpPr>
          <p:cNvPr id="43" name="TextBox 42">
            <a:extLst>
              <a:ext uri="{FF2B5EF4-FFF2-40B4-BE49-F238E27FC236}">
                <a16:creationId xmlns:a16="http://schemas.microsoft.com/office/drawing/2014/main" id="{C73F1613-991E-4D24-B83E-D8CBE83F64D7}"/>
              </a:ext>
            </a:extLst>
          </p:cNvPr>
          <p:cNvSpPr txBox="1"/>
          <p:nvPr/>
        </p:nvSpPr>
        <p:spPr>
          <a:xfrm>
            <a:off x="9147805" y="4759358"/>
            <a:ext cx="3043331" cy="939873"/>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5. At checkpoint, dirty data pages are written to the database file.</a:t>
            </a:r>
          </a:p>
        </p:txBody>
      </p:sp>
      <p:sp>
        <p:nvSpPr>
          <p:cNvPr id="44" name="Rounded Rectangle 8">
            <a:extLst>
              <a:ext uri="{FF2B5EF4-FFF2-40B4-BE49-F238E27FC236}">
                <a16:creationId xmlns:a16="http://schemas.microsoft.com/office/drawing/2014/main" id="{8D11A120-5C09-489D-9D90-7BDAB6DFE3A9}"/>
              </a:ext>
            </a:extLst>
          </p:cNvPr>
          <p:cNvSpPr/>
          <p:nvPr/>
        </p:nvSpPr>
        <p:spPr>
          <a:xfrm>
            <a:off x="361617" y="1424958"/>
            <a:ext cx="5049031" cy="1443084"/>
          </a:xfrm>
          <a:prstGeom prst="roundRect">
            <a:avLst/>
          </a:prstGeom>
          <a:solidFill>
            <a:sysClr val="window" lastClr="FFFFFF"/>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80DE7D8D-DB3B-48F8-B54B-10FD4E40E31C}"/>
              </a:ext>
            </a:extLst>
          </p:cNvPr>
          <p:cNvSpPr txBox="1"/>
          <p:nvPr/>
        </p:nvSpPr>
        <p:spPr>
          <a:xfrm>
            <a:off x="634161" y="3188777"/>
            <a:ext cx="3205954" cy="657359"/>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1. Data modification is sent to buffer cache in memory.</a:t>
            </a:r>
          </a:p>
        </p:txBody>
      </p:sp>
      <p:sp>
        <p:nvSpPr>
          <p:cNvPr id="46" name="TextBox 45">
            <a:extLst>
              <a:ext uri="{FF2B5EF4-FFF2-40B4-BE49-F238E27FC236}">
                <a16:creationId xmlns:a16="http://schemas.microsoft.com/office/drawing/2014/main" id="{89494341-EBD5-4627-9F76-12CF240D07E3}"/>
              </a:ext>
            </a:extLst>
          </p:cNvPr>
          <p:cNvSpPr txBox="1"/>
          <p:nvPr/>
        </p:nvSpPr>
        <p:spPr>
          <a:xfrm>
            <a:off x="641543" y="5370193"/>
            <a:ext cx="3205954" cy="939873"/>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3. Data pages are located or read into the buffer cache and then modified.</a:t>
            </a:r>
          </a:p>
        </p:txBody>
      </p:sp>
      <p:sp>
        <p:nvSpPr>
          <p:cNvPr id="47" name="TextBox 46">
            <a:extLst>
              <a:ext uri="{FF2B5EF4-FFF2-40B4-BE49-F238E27FC236}">
                <a16:creationId xmlns:a16="http://schemas.microsoft.com/office/drawing/2014/main" id="{151FF534-AE55-4F20-B962-77543B80AF1A}"/>
              </a:ext>
            </a:extLst>
          </p:cNvPr>
          <p:cNvSpPr txBox="1"/>
          <p:nvPr/>
        </p:nvSpPr>
        <p:spPr>
          <a:xfrm>
            <a:off x="7213094" y="3248460"/>
            <a:ext cx="3396451" cy="668679"/>
          </a:xfrm>
          <a:prstGeom prst="rect">
            <a:avLst/>
          </a:prstGeom>
          <a:noFill/>
        </p:spPr>
        <p:txBody>
          <a:bodyPr wrap="square" rtlCol="0">
            <a:spAutoFit/>
          </a:bodyPr>
          <a:lstStyle/>
          <a:p>
            <a:pPr marL="0" marR="0" lvl="0" indent="0" algn="l" defTabSz="932418"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black"/>
                </a:solidFill>
                <a:effectLst/>
                <a:uLnTx/>
                <a:uFillTx/>
                <a:latin typeface="Segoe UI"/>
                <a:ea typeface="+mn-ea"/>
                <a:cs typeface="+mn-cs"/>
              </a:rPr>
              <a:t>4. Log cache record is flushed to the transaction log</a:t>
            </a:r>
          </a:p>
        </p:txBody>
      </p:sp>
      <p:cxnSp>
        <p:nvCxnSpPr>
          <p:cNvPr id="49" name="Straight Arrow Connector 48">
            <a:extLst>
              <a:ext uri="{FF2B5EF4-FFF2-40B4-BE49-F238E27FC236}">
                <a16:creationId xmlns:a16="http://schemas.microsoft.com/office/drawing/2014/main" id="{FF810BAB-96B9-4191-94A6-911153B3D3D3}"/>
              </a:ext>
            </a:extLst>
          </p:cNvPr>
          <p:cNvCxnSpPr>
            <a:cxnSpLocks/>
          </p:cNvCxnSpPr>
          <p:nvPr/>
        </p:nvCxnSpPr>
        <p:spPr>
          <a:xfrm>
            <a:off x="5893544" y="5405707"/>
            <a:ext cx="1542744" cy="3830"/>
          </a:xfrm>
          <a:prstGeom prst="straightConnector1">
            <a:avLst/>
          </a:prstGeom>
          <a:noFill/>
          <a:ln w="57150" cap="flat" cmpd="sng" algn="ctr">
            <a:solidFill>
              <a:srgbClr val="EF3B24"/>
            </a:solidFill>
            <a:prstDash val="solid"/>
            <a:tailEnd type="triangle"/>
          </a:ln>
          <a:effectLst/>
        </p:spPr>
      </p:cxnSp>
      <p:cxnSp>
        <p:nvCxnSpPr>
          <p:cNvPr id="50" name="Straight Arrow Connector 49">
            <a:extLst>
              <a:ext uri="{FF2B5EF4-FFF2-40B4-BE49-F238E27FC236}">
                <a16:creationId xmlns:a16="http://schemas.microsoft.com/office/drawing/2014/main" id="{041387EF-DB9D-451C-8EFB-74F9BDBB7D2A}"/>
              </a:ext>
            </a:extLst>
          </p:cNvPr>
          <p:cNvCxnSpPr>
            <a:cxnSpLocks/>
          </p:cNvCxnSpPr>
          <p:nvPr/>
        </p:nvCxnSpPr>
        <p:spPr>
          <a:xfrm flipH="1">
            <a:off x="5893544" y="4824880"/>
            <a:ext cx="1448889" cy="0"/>
          </a:xfrm>
          <a:prstGeom prst="straightConnector1">
            <a:avLst/>
          </a:prstGeom>
          <a:noFill/>
          <a:ln w="57150" cap="flat" cmpd="sng" algn="ctr">
            <a:solidFill>
              <a:srgbClr val="EF3B24"/>
            </a:solidFill>
            <a:prstDash val="solid"/>
            <a:tailEnd type="triangle"/>
          </a:ln>
          <a:effectLst/>
        </p:spPr>
      </p:cxnSp>
      <p:cxnSp>
        <p:nvCxnSpPr>
          <p:cNvPr id="51" name="Straight Arrow Connector 50">
            <a:extLst>
              <a:ext uri="{FF2B5EF4-FFF2-40B4-BE49-F238E27FC236}">
                <a16:creationId xmlns:a16="http://schemas.microsoft.com/office/drawing/2014/main" id="{BF9E7A5F-14E3-4D2D-9F7F-E714EB7AEAE4}"/>
              </a:ext>
            </a:extLst>
          </p:cNvPr>
          <p:cNvCxnSpPr>
            <a:cxnSpLocks/>
          </p:cNvCxnSpPr>
          <p:nvPr/>
        </p:nvCxnSpPr>
        <p:spPr>
          <a:xfrm flipV="1">
            <a:off x="5706274" y="2967918"/>
            <a:ext cx="1441431" cy="1183106"/>
          </a:xfrm>
          <a:prstGeom prst="straightConnector1">
            <a:avLst/>
          </a:prstGeom>
          <a:noFill/>
          <a:ln w="57150" cap="flat" cmpd="sng" algn="ctr">
            <a:solidFill>
              <a:srgbClr val="EF3B24"/>
            </a:solidFill>
            <a:prstDash val="solid"/>
            <a:tailEnd type="triangle"/>
          </a:ln>
          <a:effectLst/>
        </p:spPr>
      </p:cxnSp>
      <p:sp>
        <p:nvSpPr>
          <p:cNvPr id="52" name="Rectangle 51">
            <a:extLst>
              <a:ext uri="{FF2B5EF4-FFF2-40B4-BE49-F238E27FC236}">
                <a16:creationId xmlns:a16="http://schemas.microsoft.com/office/drawing/2014/main" id="{DA4476B5-562C-457F-B7C9-D598005C6461}"/>
              </a:ext>
            </a:extLst>
          </p:cNvPr>
          <p:cNvSpPr/>
          <p:nvPr/>
        </p:nvSpPr>
        <p:spPr>
          <a:xfrm>
            <a:off x="4113595" y="3284798"/>
            <a:ext cx="361591" cy="478308"/>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1</a:t>
            </a:r>
          </a:p>
        </p:txBody>
      </p:sp>
      <p:sp>
        <p:nvSpPr>
          <p:cNvPr id="53" name="Rectangle 52">
            <a:extLst>
              <a:ext uri="{FF2B5EF4-FFF2-40B4-BE49-F238E27FC236}">
                <a16:creationId xmlns:a16="http://schemas.microsoft.com/office/drawing/2014/main" id="{CA08C041-55D8-448B-9A77-8E8819947002}"/>
              </a:ext>
            </a:extLst>
          </p:cNvPr>
          <p:cNvSpPr/>
          <p:nvPr/>
        </p:nvSpPr>
        <p:spPr>
          <a:xfrm>
            <a:off x="6484208" y="4359248"/>
            <a:ext cx="361415" cy="478376"/>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3</a:t>
            </a:r>
          </a:p>
        </p:txBody>
      </p:sp>
      <p:sp>
        <p:nvSpPr>
          <p:cNvPr id="54" name="Rectangle 53">
            <a:extLst>
              <a:ext uri="{FF2B5EF4-FFF2-40B4-BE49-F238E27FC236}">
                <a16:creationId xmlns:a16="http://schemas.microsoft.com/office/drawing/2014/main" id="{D4D403BD-9984-4002-A43A-FAC9B99F4871}"/>
              </a:ext>
            </a:extLst>
          </p:cNvPr>
          <p:cNvSpPr/>
          <p:nvPr/>
        </p:nvSpPr>
        <p:spPr>
          <a:xfrm>
            <a:off x="5079823" y="3258266"/>
            <a:ext cx="361415" cy="478376"/>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2</a:t>
            </a:r>
          </a:p>
        </p:txBody>
      </p:sp>
      <p:sp>
        <p:nvSpPr>
          <p:cNvPr id="55" name="Rectangle 54">
            <a:extLst>
              <a:ext uri="{FF2B5EF4-FFF2-40B4-BE49-F238E27FC236}">
                <a16:creationId xmlns:a16="http://schemas.microsoft.com/office/drawing/2014/main" id="{C0847374-A542-41DD-9FE7-689A197F5D07}"/>
              </a:ext>
            </a:extLst>
          </p:cNvPr>
          <p:cNvSpPr/>
          <p:nvPr/>
        </p:nvSpPr>
        <p:spPr>
          <a:xfrm>
            <a:off x="6084131" y="3012704"/>
            <a:ext cx="361591" cy="478308"/>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4</a:t>
            </a:r>
          </a:p>
        </p:txBody>
      </p:sp>
      <p:sp>
        <p:nvSpPr>
          <p:cNvPr id="56" name="Rectangle 55">
            <a:extLst>
              <a:ext uri="{FF2B5EF4-FFF2-40B4-BE49-F238E27FC236}">
                <a16:creationId xmlns:a16="http://schemas.microsoft.com/office/drawing/2014/main" id="{7EBE9456-B0AC-4E32-ACAA-D59285BCF54E}"/>
              </a:ext>
            </a:extLst>
          </p:cNvPr>
          <p:cNvSpPr/>
          <p:nvPr/>
        </p:nvSpPr>
        <p:spPr>
          <a:xfrm>
            <a:off x="6440067" y="5514417"/>
            <a:ext cx="361591" cy="478308"/>
          </a:xfrm>
          <a:prstGeom prst="rect">
            <a:avLst/>
          </a:prstGeom>
          <a:noFill/>
        </p:spPr>
        <p:txBody>
          <a:bodyPr wrap="none" lIns="93247" tIns="46623" rIns="93247" bIns="46623">
            <a:spAutoFit/>
          </a:bodyPr>
          <a:lstStyle/>
          <a:p>
            <a:pPr marL="0" marR="0" lvl="0" indent="0" algn="ctr" defTabSz="932418" rtl="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w="0"/>
                <a:solidFill>
                  <a:prstClr val="black"/>
                </a:solidFill>
                <a:effectLst>
                  <a:outerShdw blurRad="38100" dist="25400" dir="5400000" algn="ctr" rotWithShape="0">
                    <a:srgbClr val="6E747A">
                      <a:alpha val="43000"/>
                    </a:srgbClr>
                  </a:outerShdw>
                </a:effectLst>
                <a:uLnTx/>
                <a:uFillTx/>
                <a:latin typeface="Segoe UI"/>
                <a:ea typeface="+mn-ea"/>
                <a:cs typeface="+mn-cs"/>
              </a:rPr>
              <a:t>5</a:t>
            </a:r>
          </a:p>
        </p:txBody>
      </p:sp>
      <p:pic>
        <p:nvPicPr>
          <p:cNvPr id="57" name="Picture 56">
            <a:extLst>
              <a:ext uri="{FF2B5EF4-FFF2-40B4-BE49-F238E27FC236}">
                <a16:creationId xmlns:a16="http://schemas.microsoft.com/office/drawing/2014/main" id="{43AC5A54-EBE6-40B8-A612-386A988C136A}"/>
              </a:ext>
            </a:extLst>
          </p:cNvPr>
          <p:cNvPicPr>
            <a:picLocks noChangeAspect="1"/>
          </p:cNvPicPr>
          <p:nvPr/>
        </p:nvPicPr>
        <p:blipFill>
          <a:blip r:embed="rId3"/>
          <a:stretch>
            <a:fillRect/>
          </a:stretch>
        </p:blipFill>
        <p:spPr>
          <a:xfrm>
            <a:off x="761660" y="1536972"/>
            <a:ext cx="4239647" cy="1233581"/>
          </a:xfrm>
          <a:prstGeom prst="rect">
            <a:avLst/>
          </a:prstGeom>
        </p:spPr>
      </p:pic>
      <p:grpSp>
        <p:nvGrpSpPr>
          <p:cNvPr id="58" name="Group 57">
            <a:extLst>
              <a:ext uri="{FF2B5EF4-FFF2-40B4-BE49-F238E27FC236}">
                <a16:creationId xmlns:a16="http://schemas.microsoft.com/office/drawing/2014/main" id="{25D278F0-04C0-4941-BF5A-CC42C3B27641}"/>
              </a:ext>
            </a:extLst>
          </p:cNvPr>
          <p:cNvGrpSpPr/>
          <p:nvPr/>
        </p:nvGrpSpPr>
        <p:grpSpPr>
          <a:xfrm>
            <a:off x="7581388" y="4511374"/>
            <a:ext cx="1421318" cy="1577822"/>
            <a:chOff x="4963829" y="4298078"/>
            <a:chExt cx="1393773" cy="1547244"/>
          </a:xfrm>
        </p:grpSpPr>
        <p:sp>
          <p:nvSpPr>
            <p:cNvPr id="59" name="Cylinder 58">
              <a:extLst>
                <a:ext uri="{FF2B5EF4-FFF2-40B4-BE49-F238E27FC236}">
                  <a16:creationId xmlns:a16="http://schemas.microsoft.com/office/drawing/2014/main" id="{F14D23F6-01E4-4CD2-96DF-A8D60C28CD0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60" name="Cylinder 59">
              <a:extLst>
                <a:ext uri="{FF2B5EF4-FFF2-40B4-BE49-F238E27FC236}">
                  <a16:creationId xmlns:a16="http://schemas.microsoft.com/office/drawing/2014/main" id="{2B321139-4C1D-4DF8-8D9C-B0B3F4A3A21A}"/>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61" name="Cylinder 60">
              <a:extLst>
                <a:ext uri="{FF2B5EF4-FFF2-40B4-BE49-F238E27FC236}">
                  <a16:creationId xmlns:a16="http://schemas.microsoft.com/office/drawing/2014/main" id="{4C8EE044-29C5-479A-92C6-40BCBE230F0C}"/>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107C10"/>
                </a:solidFill>
                <a:effectLst/>
                <a:uLnTx/>
                <a:uFillTx/>
                <a:latin typeface="Segoe UI"/>
                <a:ea typeface="+mn-ea"/>
                <a:cs typeface="+mn-cs"/>
              </a:endParaRPr>
            </a:p>
          </p:txBody>
        </p:sp>
      </p:grpSp>
      <p:grpSp>
        <p:nvGrpSpPr>
          <p:cNvPr id="62" name="Group 61">
            <a:extLst>
              <a:ext uri="{FF2B5EF4-FFF2-40B4-BE49-F238E27FC236}">
                <a16:creationId xmlns:a16="http://schemas.microsoft.com/office/drawing/2014/main" id="{028D22DA-AEC8-435D-A6D7-ACC959EA57D8}"/>
              </a:ext>
            </a:extLst>
          </p:cNvPr>
          <p:cNvGrpSpPr/>
          <p:nvPr/>
        </p:nvGrpSpPr>
        <p:grpSpPr>
          <a:xfrm>
            <a:off x="7454411" y="1178878"/>
            <a:ext cx="1675267" cy="1714606"/>
            <a:chOff x="7739357" y="1288477"/>
            <a:chExt cx="1675505" cy="1714849"/>
          </a:xfrm>
        </p:grpSpPr>
        <p:sp>
          <p:nvSpPr>
            <p:cNvPr id="63" name="Scroll: Vertical 62">
              <a:extLst>
                <a:ext uri="{FF2B5EF4-FFF2-40B4-BE49-F238E27FC236}">
                  <a16:creationId xmlns:a16="http://schemas.microsoft.com/office/drawing/2014/main" id="{0FC0C9DA-2583-434C-9E8D-E44A77F97C38}"/>
                </a:ext>
              </a:extLst>
            </p:cNvPr>
            <p:cNvSpPr/>
            <p:nvPr/>
          </p:nvSpPr>
          <p:spPr>
            <a:xfrm rot="10800000">
              <a:off x="7739357" y="1288477"/>
              <a:ext cx="1675505" cy="1714849"/>
            </a:xfrm>
            <a:prstGeom prst="verticalScroll">
              <a:avLst/>
            </a:prstGeom>
            <a:solidFill>
              <a:sysClr val="window" lastClr="FFFFFF"/>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cxnSp>
          <p:nvCxnSpPr>
            <p:cNvPr id="64" name="Straight Connector 63">
              <a:extLst>
                <a:ext uri="{FF2B5EF4-FFF2-40B4-BE49-F238E27FC236}">
                  <a16:creationId xmlns:a16="http://schemas.microsoft.com/office/drawing/2014/main" id="{B444335C-F41E-44EE-8E09-B709F2FDBA5B}"/>
                </a:ext>
              </a:extLst>
            </p:cNvPr>
            <p:cNvCxnSpPr>
              <a:cxnSpLocks/>
            </p:cNvCxnSpPr>
            <p:nvPr/>
          </p:nvCxnSpPr>
          <p:spPr>
            <a:xfrm>
              <a:off x="8044496" y="1560036"/>
              <a:ext cx="1065225" cy="0"/>
            </a:xfrm>
            <a:prstGeom prst="line">
              <a:avLst/>
            </a:prstGeom>
            <a:noFill/>
            <a:ln w="38100" cap="flat" cmpd="sng" algn="ctr">
              <a:solidFill>
                <a:srgbClr val="2098D5">
                  <a:lumMod val="75000"/>
                </a:srgbClr>
              </a:solidFill>
              <a:prstDash val="solid"/>
            </a:ln>
            <a:effectLst/>
          </p:spPr>
        </p:cxnSp>
        <p:cxnSp>
          <p:nvCxnSpPr>
            <p:cNvPr id="65" name="Straight Connector 64">
              <a:extLst>
                <a:ext uri="{FF2B5EF4-FFF2-40B4-BE49-F238E27FC236}">
                  <a16:creationId xmlns:a16="http://schemas.microsoft.com/office/drawing/2014/main" id="{C8FEA425-B9F4-4E75-8EF5-8A327E2BA5E3}"/>
                </a:ext>
              </a:extLst>
            </p:cNvPr>
            <p:cNvCxnSpPr>
              <a:cxnSpLocks/>
            </p:cNvCxnSpPr>
            <p:nvPr/>
          </p:nvCxnSpPr>
          <p:spPr>
            <a:xfrm>
              <a:off x="8044496" y="1735069"/>
              <a:ext cx="1065225" cy="0"/>
            </a:xfrm>
            <a:prstGeom prst="line">
              <a:avLst/>
            </a:prstGeom>
            <a:noFill/>
            <a:ln w="38100" cap="flat" cmpd="sng" algn="ctr">
              <a:solidFill>
                <a:srgbClr val="2098D5">
                  <a:lumMod val="75000"/>
                </a:srgbClr>
              </a:solidFill>
              <a:prstDash val="solid"/>
            </a:ln>
            <a:effectLst/>
          </p:spPr>
        </p:cxnSp>
        <p:cxnSp>
          <p:nvCxnSpPr>
            <p:cNvPr id="66" name="Straight Connector 65">
              <a:extLst>
                <a:ext uri="{FF2B5EF4-FFF2-40B4-BE49-F238E27FC236}">
                  <a16:creationId xmlns:a16="http://schemas.microsoft.com/office/drawing/2014/main" id="{36B6B7AB-D97F-47D5-95E0-4C9439477046}"/>
                </a:ext>
              </a:extLst>
            </p:cNvPr>
            <p:cNvCxnSpPr>
              <a:cxnSpLocks/>
            </p:cNvCxnSpPr>
            <p:nvPr/>
          </p:nvCxnSpPr>
          <p:spPr>
            <a:xfrm>
              <a:off x="8044496" y="1910101"/>
              <a:ext cx="1065225" cy="0"/>
            </a:xfrm>
            <a:prstGeom prst="line">
              <a:avLst/>
            </a:prstGeom>
            <a:noFill/>
            <a:ln w="38100" cap="flat" cmpd="sng" algn="ctr">
              <a:solidFill>
                <a:srgbClr val="2098D5">
                  <a:lumMod val="75000"/>
                </a:srgbClr>
              </a:solidFill>
              <a:prstDash val="solid"/>
            </a:ln>
            <a:effectLst/>
          </p:spPr>
        </p:cxnSp>
        <p:cxnSp>
          <p:nvCxnSpPr>
            <p:cNvPr id="67" name="Straight Connector 66">
              <a:extLst>
                <a:ext uri="{FF2B5EF4-FFF2-40B4-BE49-F238E27FC236}">
                  <a16:creationId xmlns:a16="http://schemas.microsoft.com/office/drawing/2014/main" id="{08F459B7-C16A-4C8C-9AD1-E6E48FA02422}"/>
                </a:ext>
              </a:extLst>
            </p:cNvPr>
            <p:cNvCxnSpPr>
              <a:cxnSpLocks/>
            </p:cNvCxnSpPr>
            <p:nvPr/>
          </p:nvCxnSpPr>
          <p:spPr>
            <a:xfrm>
              <a:off x="8044496" y="2085133"/>
              <a:ext cx="1065225" cy="0"/>
            </a:xfrm>
            <a:prstGeom prst="line">
              <a:avLst/>
            </a:prstGeom>
            <a:noFill/>
            <a:ln w="38100" cap="flat" cmpd="sng" algn="ctr">
              <a:solidFill>
                <a:srgbClr val="2098D5">
                  <a:lumMod val="75000"/>
                </a:srgbClr>
              </a:solidFill>
              <a:prstDash val="solid"/>
            </a:ln>
            <a:effectLst/>
          </p:spPr>
        </p:cxnSp>
        <p:cxnSp>
          <p:nvCxnSpPr>
            <p:cNvPr id="68" name="Straight Connector 67">
              <a:extLst>
                <a:ext uri="{FF2B5EF4-FFF2-40B4-BE49-F238E27FC236}">
                  <a16:creationId xmlns:a16="http://schemas.microsoft.com/office/drawing/2014/main" id="{C7BEB7DF-687A-48BA-A0BB-036925AC3601}"/>
                </a:ext>
              </a:extLst>
            </p:cNvPr>
            <p:cNvCxnSpPr>
              <a:cxnSpLocks/>
            </p:cNvCxnSpPr>
            <p:nvPr/>
          </p:nvCxnSpPr>
          <p:spPr>
            <a:xfrm>
              <a:off x="8044496" y="2260166"/>
              <a:ext cx="1065225" cy="0"/>
            </a:xfrm>
            <a:prstGeom prst="line">
              <a:avLst/>
            </a:prstGeom>
            <a:noFill/>
            <a:ln w="38100" cap="flat" cmpd="sng" algn="ctr">
              <a:solidFill>
                <a:srgbClr val="2098D5">
                  <a:lumMod val="75000"/>
                </a:srgbClr>
              </a:solidFill>
              <a:prstDash val="solid"/>
            </a:ln>
            <a:effectLst/>
          </p:spPr>
        </p:cxnSp>
        <p:cxnSp>
          <p:nvCxnSpPr>
            <p:cNvPr id="69" name="Straight Connector 68">
              <a:extLst>
                <a:ext uri="{FF2B5EF4-FFF2-40B4-BE49-F238E27FC236}">
                  <a16:creationId xmlns:a16="http://schemas.microsoft.com/office/drawing/2014/main" id="{BC3BCE44-3F22-43C2-8859-2D27021832D1}"/>
                </a:ext>
              </a:extLst>
            </p:cNvPr>
            <p:cNvCxnSpPr>
              <a:cxnSpLocks/>
            </p:cNvCxnSpPr>
            <p:nvPr/>
          </p:nvCxnSpPr>
          <p:spPr>
            <a:xfrm>
              <a:off x="8044496" y="2610229"/>
              <a:ext cx="1065225" cy="0"/>
            </a:xfrm>
            <a:prstGeom prst="line">
              <a:avLst/>
            </a:prstGeom>
            <a:noFill/>
            <a:ln w="38100" cap="flat" cmpd="sng" algn="ctr">
              <a:solidFill>
                <a:srgbClr val="2098D5">
                  <a:lumMod val="75000"/>
                </a:srgbClr>
              </a:solidFill>
              <a:prstDash val="solid"/>
            </a:ln>
            <a:effectLst/>
          </p:spPr>
        </p:cxnSp>
        <p:cxnSp>
          <p:nvCxnSpPr>
            <p:cNvPr id="70" name="Straight Connector 69">
              <a:extLst>
                <a:ext uri="{FF2B5EF4-FFF2-40B4-BE49-F238E27FC236}">
                  <a16:creationId xmlns:a16="http://schemas.microsoft.com/office/drawing/2014/main" id="{D4ACCC6B-B053-4873-BC6B-A9BD76576A76}"/>
                </a:ext>
              </a:extLst>
            </p:cNvPr>
            <p:cNvCxnSpPr>
              <a:cxnSpLocks/>
            </p:cNvCxnSpPr>
            <p:nvPr/>
          </p:nvCxnSpPr>
          <p:spPr>
            <a:xfrm>
              <a:off x="8044496" y="2435198"/>
              <a:ext cx="1065225" cy="0"/>
            </a:xfrm>
            <a:prstGeom prst="line">
              <a:avLst/>
            </a:prstGeom>
            <a:noFill/>
            <a:ln w="38100" cap="flat" cmpd="sng" algn="ctr">
              <a:solidFill>
                <a:srgbClr val="2098D5">
                  <a:lumMod val="75000"/>
                </a:srgbClr>
              </a:solidFill>
              <a:prstDash val="solid"/>
            </a:ln>
            <a:effectLst/>
          </p:spPr>
        </p:cxnSp>
      </p:grpSp>
      <p:sp>
        <p:nvSpPr>
          <p:cNvPr id="72" name="Rectangle: Diagonal Corners Rounded 71">
            <a:extLst>
              <a:ext uri="{FF2B5EF4-FFF2-40B4-BE49-F238E27FC236}">
                <a16:creationId xmlns:a16="http://schemas.microsoft.com/office/drawing/2014/main" id="{3E3C855A-E157-4E93-89BF-92F36A12CA1C}"/>
              </a:ext>
            </a:extLst>
          </p:cNvPr>
          <p:cNvSpPr/>
          <p:nvPr/>
        </p:nvSpPr>
        <p:spPr>
          <a:xfrm>
            <a:off x="4047131" y="4251243"/>
            <a:ext cx="1213134" cy="1763614"/>
          </a:xfrm>
          <a:prstGeom prst="round2DiagRect">
            <a:avLst>
              <a:gd name="adj1" fmla="val 3765"/>
              <a:gd name="adj2" fmla="val 0"/>
            </a:avLst>
          </a:prstGeom>
          <a:solidFill>
            <a:sysClr val="windowText" lastClr="000000">
              <a:lumMod val="65000"/>
              <a:lumOff val="35000"/>
            </a:sysClr>
          </a:solidFill>
          <a:ln w="25400" cap="flat" cmpd="sng" algn="ctr">
            <a:solidFill>
              <a:srgbClr val="424CA0">
                <a:shade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nvGrpSpPr>
          <p:cNvPr id="73" name="Group 72">
            <a:extLst>
              <a:ext uri="{FF2B5EF4-FFF2-40B4-BE49-F238E27FC236}">
                <a16:creationId xmlns:a16="http://schemas.microsoft.com/office/drawing/2014/main" id="{2593FE0F-1CB8-4FCA-8743-606BC73AA36A}"/>
              </a:ext>
            </a:extLst>
          </p:cNvPr>
          <p:cNvGrpSpPr/>
          <p:nvPr/>
        </p:nvGrpSpPr>
        <p:grpSpPr>
          <a:xfrm>
            <a:off x="4128732" y="4461047"/>
            <a:ext cx="1131534" cy="0"/>
            <a:chOff x="2936943" y="4120563"/>
            <a:chExt cx="909721" cy="0"/>
          </a:xfrm>
        </p:grpSpPr>
        <p:cxnSp>
          <p:nvCxnSpPr>
            <p:cNvPr id="88" name="Straight Connector 87">
              <a:extLst>
                <a:ext uri="{FF2B5EF4-FFF2-40B4-BE49-F238E27FC236}">
                  <a16:creationId xmlns:a16="http://schemas.microsoft.com/office/drawing/2014/main" id="{CDEFCC7F-9910-4594-B86B-83342DB5CFCC}"/>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9" name="Straight Connector 88">
              <a:extLst>
                <a:ext uri="{FF2B5EF4-FFF2-40B4-BE49-F238E27FC236}">
                  <a16:creationId xmlns:a16="http://schemas.microsoft.com/office/drawing/2014/main" id="{B7338971-8AA3-4D5A-8CDF-20661E9C0B36}"/>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4" name="Group 73">
            <a:extLst>
              <a:ext uri="{FF2B5EF4-FFF2-40B4-BE49-F238E27FC236}">
                <a16:creationId xmlns:a16="http://schemas.microsoft.com/office/drawing/2014/main" id="{F45078F8-0199-4AD1-86DC-0C1B59EC3C35}"/>
              </a:ext>
            </a:extLst>
          </p:cNvPr>
          <p:cNvGrpSpPr/>
          <p:nvPr/>
        </p:nvGrpSpPr>
        <p:grpSpPr>
          <a:xfrm>
            <a:off x="4128732" y="4632089"/>
            <a:ext cx="1131534" cy="0"/>
            <a:chOff x="2936943" y="4120563"/>
            <a:chExt cx="909721" cy="0"/>
          </a:xfrm>
        </p:grpSpPr>
        <p:cxnSp>
          <p:nvCxnSpPr>
            <p:cNvPr id="86" name="Straight Connector 85">
              <a:extLst>
                <a:ext uri="{FF2B5EF4-FFF2-40B4-BE49-F238E27FC236}">
                  <a16:creationId xmlns:a16="http://schemas.microsoft.com/office/drawing/2014/main" id="{53923D4A-9C90-42E3-B9BC-D788A2F6E03E}"/>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7" name="Straight Connector 86">
              <a:extLst>
                <a:ext uri="{FF2B5EF4-FFF2-40B4-BE49-F238E27FC236}">
                  <a16:creationId xmlns:a16="http://schemas.microsoft.com/office/drawing/2014/main" id="{55054538-D9E7-4244-B617-7EB70749E75F}"/>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5" name="Group 74">
            <a:extLst>
              <a:ext uri="{FF2B5EF4-FFF2-40B4-BE49-F238E27FC236}">
                <a16:creationId xmlns:a16="http://schemas.microsoft.com/office/drawing/2014/main" id="{D949FF13-1C89-4791-A30E-A1ABD70CA0B2}"/>
              </a:ext>
            </a:extLst>
          </p:cNvPr>
          <p:cNvGrpSpPr/>
          <p:nvPr/>
        </p:nvGrpSpPr>
        <p:grpSpPr>
          <a:xfrm>
            <a:off x="4118526" y="4826133"/>
            <a:ext cx="1131534" cy="0"/>
            <a:chOff x="2936943" y="4120563"/>
            <a:chExt cx="909721" cy="0"/>
          </a:xfrm>
        </p:grpSpPr>
        <p:cxnSp>
          <p:nvCxnSpPr>
            <p:cNvPr id="84" name="Straight Connector 83">
              <a:extLst>
                <a:ext uri="{FF2B5EF4-FFF2-40B4-BE49-F238E27FC236}">
                  <a16:creationId xmlns:a16="http://schemas.microsoft.com/office/drawing/2014/main" id="{E7B1EE0B-7B86-4C78-A10C-FC7CC59B24A3}"/>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5" name="Straight Connector 84">
              <a:extLst>
                <a:ext uri="{FF2B5EF4-FFF2-40B4-BE49-F238E27FC236}">
                  <a16:creationId xmlns:a16="http://schemas.microsoft.com/office/drawing/2014/main" id="{35AD41D6-AF79-4E6D-83A5-B6542986730E}"/>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sp>
        <p:nvSpPr>
          <p:cNvPr id="76" name="Oval 75">
            <a:extLst>
              <a:ext uri="{FF2B5EF4-FFF2-40B4-BE49-F238E27FC236}">
                <a16:creationId xmlns:a16="http://schemas.microsoft.com/office/drawing/2014/main" id="{4AA0A5E8-1D3E-4CE4-A1D9-FC70B7B71013}"/>
              </a:ext>
            </a:extLst>
          </p:cNvPr>
          <p:cNvSpPr/>
          <p:nvPr/>
        </p:nvSpPr>
        <p:spPr>
          <a:xfrm>
            <a:off x="5073124" y="5783809"/>
            <a:ext cx="106263" cy="131214"/>
          </a:xfrm>
          <a:prstGeom prst="ellipse">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cxnSp>
        <p:nvCxnSpPr>
          <p:cNvPr id="90" name="Straight Arrow Connector 89">
            <a:extLst>
              <a:ext uri="{FF2B5EF4-FFF2-40B4-BE49-F238E27FC236}">
                <a16:creationId xmlns:a16="http://schemas.microsoft.com/office/drawing/2014/main" id="{ED37A208-DEF5-4CCF-A1DB-C15E58CD4D1D}"/>
              </a:ext>
            </a:extLst>
          </p:cNvPr>
          <p:cNvCxnSpPr>
            <a:cxnSpLocks/>
          </p:cNvCxnSpPr>
          <p:nvPr/>
        </p:nvCxnSpPr>
        <p:spPr>
          <a:xfrm>
            <a:off x="4980290" y="2968315"/>
            <a:ext cx="0" cy="1098573"/>
          </a:xfrm>
          <a:prstGeom prst="straightConnector1">
            <a:avLst/>
          </a:prstGeom>
          <a:noFill/>
          <a:ln w="57150" cap="flat" cmpd="sng" algn="ctr">
            <a:solidFill>
              <a:srgbClr val="EF3B24"/>
            </a:solidFill>
            <a:prstDash val="solid"/>
            <a:tailEnd type="triangle"/>
          </a:ln>
          <a:effectLst/>
        </p:spPr>
      </p:cxnSp>
      <p:grpSp>
        <p:nvGrpSpPr>
          <p:cNvPr id="92" name="Group 91">
            <a:extLst>
              <a:ext uri="{FF2B5EF4-FFF2-40B4-BE49-F238E27FC236}">
                <a16:creationId xmlns:a16="http://schemas.microsoft.com/office/drawing/2014/main" id="{7189497B-C7D4-4E1E-90CE-3336FF67D444}"/>
              </a:ext>
            </a:extLst>
          </p:cNvPr>
          <p:cNvGrpSpPr/>
          <p:nvPr/>
        </p:nvGrpSpPr>
        <p:grpSpPr>
          <a:xfrm>
            <a:off x="4750651" y="4102438"/>
            <a:ext cx="685703" cy="495934"/>
            <a:chOff x="3505200" y="3999839"/>
            <a:chExt cx="685800" cy="496005"/>
          </a:xfrm>
        </p:grpSpPr>
        <p:sp>
          <p:nvSpPr>
            <p:cNvPr id="93" name="Rectangle 92">
              <a:extLst>
                <a:ext uri="{FF2B5EF4-FFF2-40B4-BE49-F238E27FC236}">
                  <a16:creationId xmlns:a16="http://schemas.microsoft.com/office/drawing/2014/main" id="{36731D01-3078-4C2A-9601-4241E6BB07E7}"/>
                </a:ext>
              </a:extLst>
            </p:cNvPr>
            <p:cNvSpPr/>
            <p:nvPr/>
          </p:nvSpPr>
          <p:spPr>
            <a:xfrm>
              <a:off x="3505200" y="4008876"/>
              <a:ext cx="685800" cy="486968"/>
            </a:xfrm>
            <a:prstGeom prst="rect">
              <a:avLst/>
            </a:prstGeom>
            <a:solidFill>
              <a:srgbClr val="129038">
                <a:lumMod val="40000"/>
                <a:lumOff val="60000"/>
              </a:srgbClr>
            </a:solidFill>
            <a:ln w="25400" cap="flat" cmpd="sng" algn="ctr">
              <a:solidFill>
                <a:srgbClr val="129038"/>
              </a:solidFill>
              <a:prstDash val="solid"/>
            </a:ln>
            <a:effectLst/>
          </p:spPr>
          <p:txBody>
            <a:bodyPr rtlCol="0" anchor="ctr"/>
            <a:lstStyle/>
            <a:p>
              <a:pPr marL="228556" marR="0" lvl="0" indent="-228556" algn="ctr" defTabSz="457112" rtl="0" eaLnBrk="0" fontAlgn="base" latinLnBrk="0" hangingPunct="0">
                <a:lnSpc>
                  <a:spcPct val="100000"/>
                </a:lnSpc>
                <a:spcBef>
                  <a:spcPct val="0"/>
                </a:spcBef>
                <a:spcAft>
                  <a:spcPct val="0"/>
                </a:spcAft>
                <a:buClrTx/>
                <a:buSzTx/>
                <a:buFontTx/>
                <a:buBlip>
                  <a:blip r:embed="rId4"/>
                </a:buBlip>
                <a:tabLst/>
                <a:defRPr/>
              </a:pPr>
              <a:endParaRPr kumimoji="0" lang="en-US" sz="1800" b="0" i="0" u="none" strike="noStrike" kern="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cxnSp>
          <p:nvCxnSpPr>
            <p:cNvPr id="94" name="Straight Connector 93">
              <a:extLst>
                <a:ext uri="{FF2B5EF4-FFF2-40B4-BE49-F238E27FC236}">
                  <a16:creationId xmlns:a16="http://schemas.microsoft.com/office/drawing/2014/main" id="{B2C6D08D-40CC-4CD1-8CAC-D0318037282E}"/>
                </a:ext>
              </a:extLst>
            </p:cNvPr>
            <p:cNvCxnSpPr>
              <a:stCxn id="93" idx="0"/>
              <a:endCxn id="93" idx="2"/>
            </p:cNvCxnSpPr>
            <p:nvPr/>
          </p:nvCxnSpPr>
          <p:spPr>
            <a:xfrm>
              <a:off x="3848100" y="4008876"/>
              <a:ext cx="0" cy="486968"/>
            </a:xfrm>
            <a:prstGeom prst="line">
              <a:avLst/>
            </a:prstGeom>
            <a:noFill/>
            <a:ln w="25400" cap="flat" cmpd="sng" algn="ctr">
              <a:solidFill>
                <a:srgbClr val="129038"/>
              </a:solidFill>
              <a:prstDash val="solid"/>
            </a:ln>
            <a:effectLst/>
          </p:spPr>
        </p:cxnSp>
        <p:cxnSp>
          <p:nvCxnSpPr>
            <p:cNvPr id="95" name="Straight Connector 94">
              <a:extLst>
                <a:ext uri="{FF2B5EF4-FFF2-40B4-BE49-F238E27FC236}">
                  <a16:creationId xmlns:a16="http://schemas.microsoft.com/office/drawing/2014/main" id="{1CE5DDB3-416F-446D-8B51-D0417188532F}"/>
                </a:ext>
              </a:extLst>
            </p:cNvPr>
            <p:cNvCxnSpPr/>
            <p:nvPr/>
          </p:nvCxnSpPr>
          <p:spPr>
            <a:xfrm>
              <a:off x="4027714" y="3999839"/>
              <a:ext cx="0" cy="496005"/>
            </a:xfrm>
            <a:prstGeom prst="line">
              <a:avLst/>
            </a:prstGeom>
            <a:noFill/>
            <a:ln w="25400" cap="flat" cmpd="sng" algn="ctr">
              <a:solidFill>
                <a:srgbClr val="129038"/>
              </a:solidFill>
              <a:prstDash val="solid"/>
            </a:ln>
            <a:effectLst/>
          </p:spPr>
        </p:cxnSp>
        <p:cxnSp>
          <p:nvCxnSpPr>
            <p:cNvPr id="96" name="Straight Connector 95">
              <a:extLst>
                <a:ext uri="{FF2B5EF4-FFF2-40B4-BE49-F238E27FC236}">
                  <a16:creationId xmlns:a16="http://schemas.microsoft.com/office/drawing/2014/main" id="{F4E91FAF-AFAF-4A15-AC58-E5904EA8C872}"/>
                </a:ext>
              </a:extLst>
            </p:cNvPr>
            <p:cNvCxnSpPr/>
            <p:nvPr/>
          </p:nvCxnSpPr>
          <p:spPr>
            <a:xfrm>
              <a:off x="3669475" y="4008876"/>
              <a:ext cx="0" cy="486968"/>
            </a:xfrm>
            <a:prstGeom prst="line">
              <a:avLst/>
            </a:prstGeom>
            <a:noFill/>
            <a:ln w="25400" cap="flat" cmpd="sng" algn="ctr">
              <a:solidFill>
                <a:srgbClr val="129038"/>
              </a:solidFill>
              <a:prstDash val="solid"/>
            </a:ln>
            <a:effectLst/>
          </p:spPr>
        </p:cxnSp>
        <p:cxnSp>
          <p:nvCxnSpPr>
            <p:cNvPr id="97" name="Straight Connector 96">
              <a:extLst>
                <a:ext uri="{FF2B5EF4-FFF2-40B4-BE49-F238E27FC236}">
                  <a16:creationId xmlns:a16="http://schemas.microsoft.com/office/drawing/2014/main" id="{583B0D9D-D269-43E8-9113-06756222B3D3}"/>
                </a:ext>
              </a:extLst>
            </p:cNvPr>
            <p:cNvCxnSpPr/>
            <p:nvPr/>
          </p:nvCxnSpPr>
          <p:spPr>
            <a:xfrm>
              <a:off x="3505200" y="4343400"/>
              <a:ext cx="685800" cy="0"/>
            </a:xfrm>
            <a:prstGeom prst="line">
              <a:avLst/>
            </a:prstGeom>
            <a:noFill/>
            <a:ln w="25400" cap="flat" cmpd="sng" algn="ctr">
              <a:solidFill>
                <a:srgbClr val="129038"/>
              </a:solidFill>
              <a:prstDash val="solid"/>
            </a:ln>
            <a:effectLst/>
          </p:spPr>
        </p:cxnSp>
        <p:cxnSp>
          <p:nvCxnSpPr>
            <p:cNvPr id="98" name="Straight Connector 97">
              <a:extLst>
                <a:ext uri="{FF2B5EF4-FFF2-40B4-BE49-F238E27FC236}">
                  <a16:creationId xmlns:a16="http://schemas.microsoft.com/office/drawing/2014/main" id="{B8DFD1EC-52D3-407E-9F9E-EB3FDC483294}"/>
                </a:ext>
              </a:extLst>
            </p:cNvPr>
            <p:cNvCxnSpPr/>
            <p:nvPr/>
          </p:nvCxnSpPr>
          <p:spPr>
            <a:xfrm>
              <a:off x="3505200" y="4191000"/>
              <a:ext cx="685800" cy="0"/>
            </a:xfrm>
            <a:prstGeom prst="line">
              <a:avLst/>
            </a:prstGeom>
            <a:noFill/>
            <a:ln w="25400" cap="flat" cmpd="sng" algn="ctr">
              <a:solidFill>
                <a:srgbClr val="129038"/>
              </a:solidFill>
              <a:prstDash val="solid"/>
            </a:ln>
            <a:effectLst/>
          </p:spPr>
        </p:cxnSp>
        <p:sp>
          <p:nvSpPr>
            <p:cNvPr id="99" name="Rectangle 98">
              <a:extLst>
                <a:ext uri="{FF2B5EF4-FFF2-40B4-BE49-F238E27FC236}">
                  <a16:creationId xmlns:a16="http://schemas.microsoft.com/office/drawing/2014/main" id="{6B6B4222-2BA4-4B95-A26A-9A795BD4988A}"/>
                </a:ext>
              </a:extLst>
            </p:cNvPr>
            <p:cNvSpPr/>
            <p:nvPr/>
          </p:nvSpPr>
          <p:spPr>
            <a:xfrm>
              <a:off x="3669475" y="4008876"/>
              <a:ext cx="178625" cy="182124"/>
            </a:xfrm>
            <a:prstGeom prst="rect">
              <a:avLst/>
            </a:prstGeom>
            <a:solidFill>
              <a:srgbClr val="129038">
                <a:lumMod val="75000"/>
              </a:srgbClr>
            </a:solidFill>
            <a:ln w="25400" cap="flat" cmpd="sng" algn="ctr">
              <a:solidFill>
                <a:srgbClr val="129038"/>
              </a:solidFill>
              <a:prstDash val="solid"/>
            </a:ln>
            <a:effectLst/>
          </p:spPr>
          <p:txBody>
            <a:bodyPr rtlCol="0" anchor="ctr"/>
            <a:lstStyle/>
            <a:p>
              <a:pPr marL="228556" marR="0" lvl="0" indent="-228556" algn="ctr" defTabSz="457112" rtl="0" eaLnBrk="0" fontAlgn="base" latinLnBrk="0" hangingPunct="0">
                <a:lnSpc>
                  <a:spcPct val="100000"/>
                </a:lnSpc>
                <a:spcBef>
                  <a:spcPct val="0"/>
                </a:spcBef>
                <a:spcAft>
                  <a:spcPct val="0"/>
                </a:spcAft>
                <a:buClrTx/>
                <a:buSzTx/>
                <a:buFontTx/>
                <a:buBlip>
                  <a:blip r:embed="rId4"/>
                </a:buBlip>
                <a:tabLst/>
                <a:defRPr/>
              </a:pPr>
              <a:endParaRPr kumimoji="0" lang="en-US" sz="1800" b="0" i="0" u="none" strike="noStrike" kern="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pSp>
      <p:sp>
        <p:nvSpPr>
          <p:cNvPr id="78" name="Rounded Rectangle 30">
            <a:extLst>
              <a:ext uri="{FF2B5EF4-FFF2-40B4-BE49-F238E27FC236}">
                <a16:creationId xmlns:a16="http://schemas.microsoft.com/office/drawing/2014/main" id="{0E1D0349-E50F-4277-A7AB-22F21660548B}"/>
              </a:ext>
            </a:extLst>
          </p:cNvPr>
          <p:cNvSpPr/>
          <p:nvPr/>
        </p:nvSpPr>
        <p:spPr>
          <a:xfrm>
            <a:off x="3941713" y="4972879"/>
            <a:ext cx="930179" cy="1251783"/>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223"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Rectangle 3">
            <a:extLst>
              <a:ext uri="{FF2B5EF4-FFF2-40B4-BE49-F238E27FC236}">
                <a16:creationId xmlns:a16="http://schemas.microsoft.com/office/drawing/2014/main" id="{54A3EA12-88F2-458B-8579-C78F16879A4F}"/>
              </a:ext>
            </a:extLst>
          </p:cNvPr>
          <p:cNvSpPr/>
          <p:nvPr/>
        </p:nvSpPr>
        <p:spPr>
          <a:xfrm>
            <a:off x="4144232" y="5117650"/>
            <a:ext cx="515736" cy="258884"/>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Page</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 name="Rectangle 5">
            <a:extLst>
              <a:ext uri="{FF2B5EF4-FFF2-40B4-BE49-F238E27FC236}">
                <a16:creationId xmlns:a16="http://schemas.microsoft.com/office/drawing/2014/main" id="{E7B62356-02A1-4457-94CB-248AB2762698}"/>
              </a:ext>
            </a:extLst>
          </p:cNvPr>
          <p:cNvSpPr/>
          <p:nvPr/>
        </p:nvSpPr>
        <p:spPr>
          <a:xfrm>
            <a:off x="4144232" y="5483645"/>
            <a:ext cx="515736" cy="258884"/>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Page</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8" name="Rectangle 7">
            <a:extLst>
              <a:ext uri="{FF2B5EF4-FFF2-40B4-BE49-F238E27FC236}">
                <a16:creationId xmlns:a16="http://schemas.microsoft.com/office/drawing/2014/main" id="{30926B68-7652-4960-963E-1E64124D5A16}"/>
              </a:ext>
            </a:extLst>
          </p:cNvPr>
          <p:cNvSpPr/>
          <p:nvPr/>
        </p:nvSpPr>
        <p:spPr>
          <a:xfrm>
            <a:off x="4144232" y="5838309"/>
            <a:ext cx="515736" cy="258884"/>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Page</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48" name="Straight Arrow Connector 47">
            <a:extLst>
              <a:ext uri="{FF2B5EF4-FFF2-40B4-BE49-F238E27FC236}">
                <a16:creationId xmlns:a16="http://schemas.microsoft.com/office/drawing/2014/main" id="{757CF6FC-0E23-44EF-9775-EFF18617BAC5}"/>
              </a:ext>
            </a:extLst>
          </p:cNvPr>
          <p:cNvCxnSpPr>
            <a:cxnSpLocks/>
          </p:cNvCxnSpPr>
          <p:nvPr/>
        </p:nvCxnSpPr>
        <p:spPr>
          <a:xfrm>
            <a:off x="4438947" y="2980788"/>
            <a:ext cx="13608" cy="1940604"/>
          </a:xfrm>
          <a:prstGeom prst="straightConnector1">
            <a:avLst/>
          </a:prstGeom>
          <a:noFill/>
          <a:ln w="57150" cap="flat" cmpd="sng" algn="ctr">
            <a:solidFill>
              <a:srgbClr val="EF3B24"/>
            </a:solidFill>
            <a:prstDash val="solid"/>
            <a:tailEnd type="triangle"/>
          </a:ln>
          <a:effectLst/>
        </p:spPr>
      </p:cxnSp>
      <p:sp>
        <p:nvSpPr>
          <p:cNvPr id="14" name="Rectangle 13">
            <a:extLst>
              <a:ext uri="{FF2B5EF4-FFF2-40B4-BE49-F238E27FC236}">
                <a16:creationId xmlns:a16="http://schemas.microsoft.com/office/drawing/2014/main" id="{93530D76-2B04-478B-BBE3-0921DC2DF992}"/>
              </a:ext>
            </a:extLst>
          </p:cNvPr>
          <p:cNvSpPr/>
          <p:nvPr/>
        </p:nvSpPr>
        <p:spPr>
          <a:xfrm>
            <a:off x="3832013" y="6239991"/>
            <a:ext cx="1140175" cy="2588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Buffer Cache</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15" name="Rectangle 14">
            <a:extLst>
              <a:ext uri="{FF2B5EF4-FFF2-40B4-BE49-F238E27FC236}">
                <a16:creationId xmlns:a16="http://schemas.microsoft.com/office/drawing/2014/main" id="{E332DF76-DDF9-4B2F-B10E-53845420DD7A}"/>
              </a:ext>
            </a:extLst>
          </p:cNvPr>
          <p:cNvSpPr/>
          <p:nvPr/>
        </p:nvSpPr>
        <p:spPr>
          <a:xfrm>
            <a:off x="7684406" y="6110549"/>
            <a:ext cx="1140175" cy="2588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MDF or NDF</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16" name="Rectangle 15">
            <a:extLst>
              <a:ext uri="{FF2B5EF4-FFF2-40B4-BE49-F238E27FC236}">
                <a16:creationId xmlns:a16="http://schemas.microsoft.com/office/drawing/2014/main" id="{482BD400-DBBC-44A8-B573-893A0FDCBB66}"/>
              </a:ext>
            </a:extLst>
          </p:cNvPr>
          <p:cNvSpPr/>
          <p:nvPr/>
        </p:nvSpPr>
        <p:spPr>
          <a:xfrm>
            <a:off x="7684406" y="2879944"/>
            <a:ext cx="1140175" cy="2588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marL="0" marR="0" lvl="0" indent="0" algn="ctr" defTabSz="699313" rtl="0" eaLnBrk="1" fontAlgn="auto" latinLnBrk="0" hangingPunct="1">
              <a:lnSpc>
                <a:spcPct val="100000"/>
              </a:lnSpc>
              <a:spcBef>
                <a:spcPts val="0"/>
              </a:spcBef>
              <a:spcAft>
                <a:spcPts val="0"/>
              </a:spcAft>
              <a:buClrTx/>
              <a:buSzTx/>
              <a:buFontTx/>
              <a:buNone/>
              <a:tabLst/>
              <a:defRPr/>
            </a:pPr>
            <a:r>
              <a:rPr kumimoji="0" lang="en-US" sz="1223"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LDF</a:t>
            </a:r>
            <a:endParaRPr kumimoji="0" lang="en-US" sz="1223"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5719369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Buffer Pool</a:t>
            </a:r>
          </a:p>
        </p:txBody>
      </p:sp>
      <p:graphicFrame>
        <p:nvGraphicFramePr>
          <p:cNvPr id="7" name="Content Placeholder 6">
            <a:extLst>
              <a:ext uri="{FF2B5EF4-FFF2-40B4-BE49-F238E27FC236}">
                <a16:creationId xmlns:a16="http://schemas.microsoft.com/office/drawing/2014/main" id="{ED3B8C91-DEC0-41B6-8662-E0730E77150B}"/>
              </a:ext>
            </a:extLst>
          </p:cNvPr>
          <p:cNvGraphicFramePr>
            <a:graphicFrameLocks noGrp="1"/>
          </p:cNvGraphicFramePr>
          <p:nvPr>
            <p:ph sz="quarter" idx="13"/>
            <p:extLst>
              <p:ext uri="{D42A27DB-BD31-4B8C-83A1-F6EECF244321}">
                <p14:modId xmlns:p14="http://schemas.microsoft.com/office/powerpoint/2010/main" val="595818851"/>
              </p:ext>
            </p:extLst>
          </p:nvPr>
        </p:nvGraphicFramePr>
        <p:xfrm>
          <a:off x="384809" y="1071095"/>
          <a:ext cx="6206049" cy="51531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p:cNvSpPr/>
          <p:nvPr/>
        </p:nvSpPr>
        <p:spPr>
          <a:xfrm>
            <a:off x="270068" y="1201981"/>
            <a:ext cx="6435532" cy="830997"/>
          </a:xfrm>
          <a:prstGeom prst="rect">
            <a:avLst/>
          </a:prstGeom>
        </p:spPr>
        <p:txBody>
          <a:bodyPr wrap="square">
            <a:spAutoFit/>
          </a:bodyPr>
          <a:lstStyle/>
          <a:p>
            <a:pPr defTabSz="914225">
              <a:defRPr/>
            </a:pPr>
            <a:endParaRPr lang="en-US" sz="2400" kern="0" dirty="0">
              <a:solidFill>
                <a:sysClr val="windowText" lastClr="000000"/>
              </a:solidFill>
            </a:endParaRPr>
          </a:p>
          <a:p>
            <a:pPr defTabSz="914225">
              <a:defRPr/>
            </a:pPr>
            <a:endParaRPr lang="en-US" sz="2400" kern="0" dirty="0">
              <a:solidFill>
                <a:sysClr val="windowText" lastClr="000000"/>
              </a:solidFill>
            </a:endParaRPr>
          </a:p>
        </p:txBody>
      </p:sp>
      <p:grpSp>
        <p:nvGrpSpPr>
          <p:cNvPr id="3" name="Group 2">
            <a:extLst>
              <a:ext uri="{FF2B5EF4-FFF2-40B4-BE49-F238E27FC236}">
                <a16:creationId xmlns:a16="http://schemas.microsoft.com/office/drawing/2014/main" id="{7F0CE1F3-D227-2E3B-B066-18EB271D417E}"/>
              </a:ext>
            </a:extLst>
          </p:cNvPr>
          <p:cNvGrpSpPr/>
          <p:nvPr/>
        </p:nvGrpSpPr>
        <p:grpSpPr>
          <a:xfrm>
            <a:off x="6820341" y="1883762"/>
            <a:ext cx="4835264" cy="3527771"/>
            <a:chOff x="6966410" y="1928788"/>
            <a:chExt cx="4835264" cy="3527771"/>
          </a:xfrm>
        </p:grpSpPr>
        <p:sp>
          <p:nvSpPr>
            <p:cNvPr id="54" name="Text Box 10">
              <a:extLst>
                <a:ext uri="{FF2B5EF4-FFF2-40B4-BE49-F238E27FC236}">
                  <a16:creationId xmlns:a16="http://schemas.microsoft.com/office/drawing/2014/main" id="{5B37512A-8246-403C-8609-1B297EA845F0}"/>
                </a:ext>
              </a:extLst>
            </p:cNvPr>
            <p:cNvSpPr txBox="1">
              <a:spLocks noChangeArrowheads="1"/>
            </p:cNvSpPr>
            <p:nvPr/>
          </p:nvSpPr>
          <p:spPr bwMode="auto">
            <a:xfrm>
              <a:off x="7102028" y="4744024"/>
              <a:ext cx="725282"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Disks</a:t>
              </a:r>
            </a:p>
          </p:txBody>
        </p:sp>
        <p:sp>
          <p:nvSpPr>
            <p:cNvPr id="55" name="Rectangle 11">
              <a:extLst>
                <a:ext uri="{FF2B5EF4-FFF2-40B4-BE49-F238E27FC236}">
                  <a16:creationId xmlns:a16="http://schemas.microsoft.com/office/drawing/2014/main" id="{CDD6A2C8-A9DB-4076-A976-978D33F5F1AF}"/>
                </a:ext>
              </a:extLst>
            </p:cNvPr>
            <p:cNvSpPr>
              <a:spLocks noChangeArrowheads="1"/>
            </p:cNvSpPr>
            <p:nvPr/>
          </p:nvSpPr>
          <p:spPr bwMode="auto">
            <a:xfrm>
              <a:off x="8067653" y="3263456"/>
              <a:ext cx="3734021" cy="672337"/>
            </a:xfrm>
            <a:prstGeom prst="rect">
              <a:avLst/>
            </a:prstGeom>
            <a:solidFill>
              <a:schemeClr val="accent1">
                <a:lumMod val="75000"/>
              </a:schemeClr>
            </a:solidFill>
            <a:ln w="9525" cap="flat" cmpd="sng" algn="ctr">
              <a:solidFill>
                <a:srgbClr val="107C10"/>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Buffer Pool</a:t>
              </a:r>
            </a:p>
          </p:txBody>
        </p:sp>
        <p:sp>
          <p:nvSpPr>
            <p:cNvPr id="56" name="Text Box 12">
              <a:extLst>
                <a:ext uri="{FF2B5EF4-FFF2-40B4-BE49-F238E27FC236}">
                  <a16:creationId xmlns:a16="http://schemas.microsoft.com/office/drawing/2014/main" id="{114053ED-8765-466E-84AE-A07DA021C65D}"/>
                </a:ext>
              </a:extLst>
            </p:cNvPr>
            <p:cNvSpPr txBox="1">
              <a:spLocks noChangeArrowheads="1"/>
            </p:cNvSpPr>
            <p:nvPr/>
          </p:nvSpPr>
          <p:spPr bwMode="auto">
            <a:xfrm>
              <a:off x="6966410" y="3424459"/>
              <a:ext cx="1007893"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Memory</a:t>
              </a:r>
            </a:p>
          </p:txBody>
        </p:sp>
        <p:sp>
          <p:nvSpPr>
            <p:cNvPr id="57" name="Text Box 18">
              <a:extLst>
                <a:ext uri="{FF2B5EF4-FFF2-40B4-BE49-F238E27FC236}">
                  <a16:creationId xmlns:a16="http://schemas.microsoft.com/office/drawing/2014/main" id="{EAEDCB83-39E0-4A5D-AF6B-24E5C7CE9796}"/>
                </a:ext>
              </a:extLst>
            </p:cNvPr>
            <p:cNvSpPr txBox="1">
              <a:spLocks noChangeArrowheads="1"/>
            </p:cNvSpPr>
            <p:nvPr/>
          </p:nvSpPr>
          <p:spPr bwMode="auto">
            <a:xfrm>
              <a:off x="8067653" y="1928788"/>
              <a:ext cx="1026856" cy="606488"/>
            </a:xfrm>
            <a:prstGeom prst="rect">
              <a:avLst/>
            </a:prstGeom>
            <a:solidFill>
              <a:schemeClr val="accent1">
                <a:lumMod val="20000"/>
                <a:lumOff val="80000"/>
              </a:schemeClr>
            </a:solidFill>
            <a:ln w="9525" cap="flat" cmpd="sng" algn="ctr">
              <a:solidFill>
                <a:srgbClr val="0078D7"/>
              </a:solidFill>
              <a:prstDash val="solid"/>
            </a:ln>
            <a:effectLst/>
          </p:spPr>
          <p:txBody>
            <a:bodyPr wrap="squar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Phys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8" name="Text Box 19">
              <a:extLst>
                <a:ext uri="{FF2B5EF4-FFF2-40B4-BE49-F238E27FC236}">
                  <a16:creationId xmlns:a16="http://schemas.microsoft.com/office/drawing/2014/main" id="{59F6E1F2-FFD9-46E3-8091-608AF1877D43}"/>
                </a:ext>
              </a:extLst>
            </p:cNvPr>
            <p:cNvSpPr txBox="1">
              <a:spLocks noChangeArrowheads="1"/>
            </p:cNvSpPr>
            <p:nvPr/>
          </p:nvSpPr>
          <p:spPr bwMode="auto">
            <a:xfrm>
              <a:off x="10819823" y="1928788"/>
              <a:ext cx="866833" cy="606488"/>
            </a:xfrm>
            <a:prstGeom prst="rect">
              <a:avLst/>
            </a:prstGeom>
            <a:solidFill>
              <a:schemeClr val="accent1">
                <a:lumMod val="20000"/>
                <a:lumOff val="80000"/>
              </a:schemeClr>
            </a:solidFill>
            <a:ln w="9525" cap="flat" cmpd="sng" algn="ctr">
              <a:solidFill>
                <a:srgbClr val="0078D7"/>
              </a:solidFill>
              <a:prstDash val="solid"/>
            </a:ln>
            <a:effectLst/>
          </p:spPr>
          <p:txBody>
            <a:bodyPr wrap="non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Log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9" name="Line 13">
              <a:extLst>
                <a:ext uri="{FF2B5EF4-FFF2-40B4-BE49-F238E27FC236}">
                  <a16:creationId xmlns:a16="http://schemas.microsoft.com/office/drawing/2014/main" id="{C9C991CD-B4F0-41E8-8798-B69F500180DE}"/>
                </a:ext>
              </a:extLst>
            </p:cNvPr>
            <p:cNvSpPr>
              <a:spLocks noChangeShapeType="1"/>
            </p:cNvSpPr>
            <p:nvPr/>
          </p:nvSpPr>
          <p:spPr bwMode="auto">
            <a:xfrm>
              <a:off x="8441055" y="2663157"/>
              <a:ext cx="0" cy="1656830"/>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0" name="Line 14">
              <a:extLst>
                <a:ext uri="{FF2B5EF4-FFF2-40B4-BE49-F238E27FC236}">
                  <a16:creationId xmlns:a16="http://schemas.microsoft.com/office/drawing/2014/main" id="{426269A6-1A40-43C7-A172-B551A71A3B86}"/>
                </a:ext>
              </a:extLst>
            </p:cNvPr>
            <p:cNvSpPr>
              <a:spLocks noChangeShapeType="1"/>
            </p:cNvSpPr>
            <p:nvPr/>
          </p:nvSpPr>
          <p:spPr bwMode="auto">
            <a:xfrm flipV="1">
              <a:off x="8627755" y="3647649"/>
              <a:ext cx="0" cy="672337"/>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1" name="Line 15">
              <a:extLst>
                <a:ext uri="{FF2B5EF4-FFF2-40B4-BE49-F238E27FC236}">
                  <a16:creationId xmlns:a16="http://schemas.microsoft.com/office/drawing/2014/main" id="{002CC1DF-7D1C-4A21-B69B-B3D678418D5F}"/>
                </a:ext>
              </a:extLst>
            </p:cNvPr>
            <p:cNvSpPr>
              <a:spLocks noChangeShapeType="1"/>
            </p:cNvSpPr>
            <p:nvPr/>
          </p:nvSpPr>
          <p:spPr bwMode="auto">
            <a:xfrm flipV="1">
              <a:off x="8627755"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2" name="Line 16">
              <a:extLst>
                <a:ext uri="{FF2B5EF4-FFF2-40B4-BE49-F238E27FC236}">
                  <a16:creationId xmlns:a16="http://schemas.microsoft.com/office/drawing/2014/main" id="{5131CD87-51EF-490F-9DE6-8BF3015F8CD8}"/>
                </a:ext>
              </a:extLst>
            </p:cNvPr>
            <p:cNvSpPr>
              <a:spLocks noChangeShapeType="1"/>
            </p:cNvSpPr>
            <p:nvPr/>
          </p:nvSpPr>
          <p:spPr bwMode="auto">
            <a:xfrm flipV="1">
              <a:off x="11334921"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3" name="Line 17">
              <a:extLst>
                <a:ext uri="{FF2B5EF4-FFF2-40B4-BE49-F238E27FC236}">
                  <a16:creationId xmlns:a16="http://schemas.microsoft.com/office/drawing/2014/main" id="{3AF3AED8-D2B4-45EF-B9E7-36FCCD2533C6}"/>
                </a:ext>
              </a:extLst>
            </p:cNvPr>
            <p:cNvSpPr>
              <a:spLocks noChangeShapeType="1"/>
            </p:cNvSpPr>
            <p:nvPr/>
          </p:nvSpPr>
          <p:spPr bwMode="auto">
            <a:xfrm>
              <a:off x="11148219"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nvGrpSpPr>
            <p:cNvPr id="20" name="Group 19">
              <a:extLst>
                <a:ext uri="{FF2B5EF4-FFF2-40B4-BE49-F238E27FC236}">
                  <a16:creationId xmlns:a16="http://schemas.microsoft.com/office/drawing/2014/main" id="{6AAD06DB-DD35-41A2-91F2-69E63D67B9B1}"/>
                </a:ext>
              </a:extLst>
            </p:cNvPr>
            <p:cNvGrpSpPr/>
            <p:nvPr/>
          </p:nvGrpSpPr>
          <p:grpSpPr>
            <a:xfrm>
              <a:off x="8067653" y="4384013"/>
              <a:ext cx="1046156" cy="1072546"/>
              <a:chOff x="4963829" y="4298078"/>
              <a:chExt cx="1393773" cy="1547244"/>
            </a:xfrm>
          </p:grpSpPr>
          <p:sp>
            <p:nvSpPr>
              <p:cNvPr id="21" name="Cylinder 20">
                <a:extLst>
                  <a:ext uri="{FF2B5EF4-FFF2-40B4-BE49-F238E27FC236}">
                    <a16:creationId xmlns:a16="http://schemas.microsoft.com/office/drawing/2014/main" id="{85D24308-DD49-45E5-819C-0837B5B7F32B}"/>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2" name="Cylinder 21">
                <a:extLst>
                  <a:ext uri="{FF2B5EF4-FFF2-40B4-BE49-F238E27FC236}">
                    <a16:creationId xmlns:a16="http://schemas.microsoft.com/office/drawing/2014/main" id="{5D92FE76-490E-4483-B1FD-DF4364754E90}"/>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3" name="Cylinder 22">
                <a:extLst>
                  <a:ext uri="{FF2B5EF4-FFF2-40B4-BE49-F238E27FC236}">
                    <a16:creationId xmlns:a16="http://schemas.microsoft.com/office/drawing/2014/main" id="{F150EBF8-25A0-497D-8ACC-ADC7446088F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E6B2DB65-525D-40FC-A9A9-A2D41D0CF174}"/>
                </a:ext>
              </a:extLst>
            </p:cNvPr>
            <p:cNvGrpSpPr/>
            <p:nvPr/>
          </p:nvGrpSpPr>
          <p:grpSpPr>
            <a:xfrm>
              <a:off x="9411586" y="4384013"/>
              <a:ext cx="1046156" cy="1072546"/>
              <a:chOff x="4963829" y="4298078"/>
              <a:chExt cx="1393773" cy="1547244"/>
            </a:xfrm>
          </p:grpSpPr>
          <p:sp>
            <p:nvSpPr>
              <p:cNvPr id="29" name="Cylinder 28">
                <a:extLst>
                  <a:ext uri="{FF2B5EF4-FFF2-40B4-BE49-F238E27FC236}">
                    <a16:creationId xmlns:a16="http://schemas.microsoft.com/office/drawing/2014/main" id="{DAFD4AED-0B2F-4CD0-A999-049182048A3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0" name="Cylinder 29">
                <a:extLst>
                  <a:ext uri="{FF2B5EF4-FFF2-40B4-BE49-F238E27FC236}">
                    <a16:creationId xmlns:a16="http://schemas.microsoft.com/office/drawing/2014/main" id="{21AA5626-4A2F-431A-A983-092FEA455304}"/>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1" name="Cylinder 30">
                <a:extLst>
                  <a:ext uri="{FF2B5EF4-FFF2-40B4-BE49-F238E27FC236}">
                    <a16:creationId xmlns:a16="http://schemas.microsoft.com/office/drawing/2014/main" id="{3448E769-184C-4084-905A-F560056A0E7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D75E88C6-E5E5-4655-B171-079438392C22}"/>
                </a:ext>
              </a:extLst>
            </p:cNvPr>
            <p:cNvGrpSpPr/>
            <p:nvPr/>
          </p:nvGrpSpPr>
          <p:grpSpPr>
            <a:xfrm>
              <a:off x="10755518" y="4384013"/>
              <a:ext cx="1046156" cy="1072546"/>
              <a:chOff x="4963829" y="4298078"/>
              <a:chExt cx="1393773" cy="1547244"/>
            </a:xfrm>
          </p:grpSpPr>
          <p:sp>
            <p:nvSpPr>
              <p:cNvPr id="33" name="Cylinder 32">
                <a:extLst>
                  <a:ext uri="{FF2B5EF4-FFF2-40B4-BE49-F238E27FC236}">
                    <a16:creationId xmlns:a16="http://schemas.microsoft.com/office/drawing/2014/main" id="{B248B2BD-3244-4618-982A-3745FB5DD36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4" name="Cylinder 33">
                <a:extLst>
                  <a:ext uri="{FF2B5EF4-FFF2-40B4-BE49-F238E27FC236}">
                    <a16:creationId xmlns:a16="http://schemas.microsoft.com/office/drawing/2014/main" id="{E57A45F2-32DE-40FC-8D33-361AC7B2F4AD}"/>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5" name="Cylinder 34">
                <a:extLst>
                  <a:ext uri="{FF2B5EF4-FFF2-40B4-BE49-F238E27FC236}">
                    <a16:creationId xmlns:a16="http://schemas.microsoft.com/office/drawing/2014/main" id="{028E6C38-8843-42F2-9A55-ECF0B1D91C38}"/>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spTree>
    <p:custDataLst>
      <p:tags r:id="rId1"/>
    </p:custDataLst>
    <p:extLst>
      <p:ext uri="{BB962C8B-B14F-4D97-AF65-F5344CB8AC3E}">
        <p14:creationId xmlns:p14="http://schemas.microsoft.com/office/powerpoint/2010/main" val="41743312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3B396-ACEF-4A35-A562-142161DD6816}"/>
              </a:ext>
            </a:extLst>
          </p:cNvPr>
          <p:cNvSpPr>
            <a:spLocks noGrp="1"/>
          </p:cNvSpPr>
          <p:nvPr>
            <p:ph type="title"/>
          </p:nvPr>
        </p:nvSpPr>
        <p:spPr/>
        <p:txBody>
          <a:bodyPr/>
          <a:lstStyle/>
          <a:p>
            <a:r>
              <a:rPr lang="en-US" dirty="0"/>
              <a:t>Log Buffer Flushing</a:t>
            </a:r>
          </a:p>
        </p:txBody>
      </p:sp>
      <p:graphicFrame>
        <p:nvGraphicFramePr>
          <p:cNvPr id="4" name="Content Placeholder 3">
            <a:extLst>
              <a:ext uri="{FF2B5EF4-FFF2-40B4-BE49-F238E27FC236}">
                <a16:creationId xmlns:a16="http://schemas.microsoft.com/office/drawing/2014/main" id="{CBBE10F8-AF7C-48AE-9E65-953A4F06B9AF}"/>
              </a:ext>
            </a:extLst>
          </p:cNvPr>
          <p:cNvGraphicFramePr>
            <a:graphicFrameLocks noGrp="1"/>
          </p:cNvGraphicFramePr>
          <p:nvPr>
            <p:ph sz="quarter" idx="13"/>
            <p:extLst>
              <p:ext uri="{D42A27DB-BD31-4B8C-83A1-F6EECF244321}">
                <p14:modId xmlns:p14="http://schemas.microsoft.com/office/powerpoint/2010/main" val="3037002427"/>
              </p:ext>
            </p:extLst>
          </p:nvPr>
        </p:nvGraphicFramePr>
        <p:xfrm>
          <a:off x="655638" y="1216385"/>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0045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9979A-6B56-439A-AC85-1A915ECDFB7C}"/>
              </a:ext>
            </a:extLst>
          </p:cNvPr>
          <p:cNvSpPr>
            <a:spLocks noGrp="1"/>
          </p:cNvSpPr>
          <p:nvPr>
            <p:ph type="title"/>
          </p:nvPr>
        </p:nvSpPr>
        <p:spPr/>
        <p:txBody>
          <a:bodyPr/>
          <a:lstStyle/>
          <a:p>
            <a:r>
              <a:rPr lang="en-US" dirty="0"/>
              <a:t>Checkpoints</a:t>
            </a:r>
          </a:p>
        </p:txBody>
      </p:sp>
      <p:sp>
        <p:nvSpPr>
          <p:cNvPr id="4" name="Content Placeholder 3">
            <a:extLst>
              <a:ext uri="{FF2B5EF4-FFF2-40B4-BE49-F238E27FC236}">
                <a16:creationId xmlns:a16="http://schemas.microsoft.com/office/drawing/2014/main" id="{AEEA4260-17E9-4E74-91A2-0BAABFCF61CD}"/>
              </a:ext>
            </a:extLst>
          </p:cNvPr>
          <p:cNvSpPr>
            <a:spLocks noGrp="1"/>
          </p:cNvSpPr>
          <p:nvPr>
            <p:ph sz="quarter" idx="13"/>
          </p:nvPr>
        </p:nvSpPr>
        <p:spPr>
          <a:xfrm>
            <a:off x="655638" y="1112363"/>
            <a:ext cx="10880726" cy="5115401"/>
          </a:xfrm>
        </p:spPr>
        <p:txBody>
          <a:bodyPr/>
          <a:lstStyle/>
          <a:p>
            <a:pPr marL="0" indent="0">
              <a:buNone/>
            </a:pPr>
            <a:r>
              <a:rPr lang="en-US" dirty="0"/>
              <a:t>Flushes dirty pages from the buffer pool to the disk. Frequency of checkpoints varies based on the database activity and recovery interval.</a:t>
            </a:r>
          </a:p>
        </p:txBody>
      </p:sp>
      <p:graphicFrame>
        <p:nvGraphicFramePr>
          <p:cNvPr id="8" name="Diagram 7">
            <a:extLst>
              <a:ext uri="{FF2B5EF4-FFF2-40B4-BE49-F238E27FC236}">
                <a16:creationId xmlns:a16="http://schemas.microsoft.com/office/drawing/2014/main" id="{F898D04E-C7D9-4424-A2BA-37A2DEF0FA9C}"/>
              </a:ext>
            </a:extLst>
          </p:cNvPr>
          <p:cNvGraphicFramePr/>
          <p:nvPr>
            <p:extLst>
              <p:ext uri="{D42A27DB-BD31-4B8C-83A1-F6EECF244321}">
                <p14:modId xmlns:p14="http://schemas.microsoft.com/office/powerpoint/2010/main" val="196316861"/>
              </p:ext>
            </p:extLst>
          </p:nvPr>
        </p:nvGraphicFramePr>
        <p:xfrm>
          <a:off x="920262" y="2003461"/>
          <a:ext cx="9906000" cy="4376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5E95A65F-EA2D-4E07-959D-155EDC10D38C}"/>
              </a:ext>
            </a:extLst>
          </p:cNvPr>
          <p:cNvSpPr/>
          <p:nvPr/>
        </p:nvSpPr>
        <p:spPr>
          <a:xfrm>
            <a:off x="1903210" y="4006470"/>
            <a:ext cx="7940104" cy="370055"/>
          </a:xfrm>
          <a:prstGeom prst="rect">
            <a:avLst/>
          </a:prstGeom>
          <a:ln>
            <a:noFill/>
          </a:ln>
          <a:effectLst/>
        </p:spPr>
        <p:txBody>
          <a:bodyPr wrap="square">
            <a:noAutofit/>
          </a:bodyPr>
          <a:lstStyle/>
          <a:p>
            <a:pPr marL="0" lvl="1" indent="-355600"/>
            <a:r>
              <a:rPr lang="en-US" sz="1400" dirty="0">
                <a:solidFill>
                  <a:srgbClr val="0000FF"/>
                </a:solidFill>
                <a:latin typeface="Lucida Console" panose="020B0609040504020204" pitchFamily="49" charset="0"/>
              </a:rPr>
              <a:t>ALTER DATABASE</a:t>
            </a:r>
            <a:r>
              <a:rPr lang="en-US" sz="1400" dirty="0">
                <a:solidFill>
                  <a:srgbClr val="000000"/>
                </a:solidFill>
                <a:latin typeface="Lucida Console" panose="020B0609040504020204" pitchFamily="49" charset="0"/>
              </a:rPr>
              <a:t> [AdventureWorksPTO] </a:t>
            </a:r>
            <a:r>
              <a:rPr lang="en-US" sz="1400" dirty="0">
                <a:solidFill>
                  <a:srgbClr val="0000FF"/>
                </a:solidFill>
                <a:latin typeface="Lucida Console" panose="020B0609040504020204" pitchFamily="49" charset="0"/>
              </a:rPr>
              <a:t>SET</a:t>
            </a:r>
            <a:r>
              <a:rPr lang="en-US" sz="1400" dirty="0">
                <a:solidFill>
                  <a:srgbClr val="000000"/>
                </a:solidFill>
                <a:latin typeface="Lucida Console" panose="020B0609040504020204" pitchFamily="49" charset="0"/>
              </a:rPr>
              <a:t> TARGET_RECOVERY_TIME = 60 SECONDS</a:t>
            </a:r>
          </a:p>
        </p:txBody>
      </p:sp>
    </p:spTree>
    <p:extLst>
      <p:ext uri="{BB962C8B-B14F-4D97-AF65-F5344CB8AC3E}">
        <p14:creationId xmlns:p14="http://schemas.microsoft.com/office/powerpoint/2010/main" val="36210612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DB65A-4339-4CFB-AD24-A4A95429031D}"/>
              </a:ext>
            </a:extLst>
          </p:cNvPr>
          <p:cNvSpPr>
            <a:spLocks noGrp="1"/>
          </p:cNvSpPr>
          <p:nvPr>
            <p:ph type="title"/>
          </p:nvPr>
        </p:nvSpPr>
        <p:spPr/>
        <p:txBody>
          <a:bodyPr/>
          <a:lstStyle/>
          <a:p>
            <a:r>
              <a:rPr lang="en-US" dirty="0"/>
              <a:t>SET STATISTICS IO</a:t>
            </a:r>
          </a:p>
        </p:txBody>
      </p:sp>
      <p:sp>
        <p:nvSpPr>
          <p:cNvPr id="12" name="TextBox 11">
            <a:extLst>
              <a:ext uri="{FF2B5EF4-FFF2-40B4-BE49-F238E27FC236}">
                <a16:creationId xmlns:a16="http://schemas.microsoft.com/office/drawing/2014/main" id="{D31043FA-3475-402A-859E-D648C523D4F5}"/>
              </a:ext>
            </a:extLst>
          </p:cNvPr>
          <p:cNvSpPr txBox="1"/>
          <p:nvPr/>
        </p:nvSpPr>
        <p:spPr>
          <a:xfrm>
            <a:off x="1030664" y="1079184"/>
            <a:ext cx="4788721" cy="2800767"/>
          </a:xfrm>
          <a:prstGeom prst="rect">
            <a:avLst/>
          </a:prstGeom>
          <a:noFill/>
          <a:ln w="19050">
            <a:solidFill>
              <a:schemeClr val="accent1"/>
            </a:solidFill>
          </a:ln>
        </p:spPr>
        <p:txBody>
          <a:bodyPr wrap="square">
            <a:spAutoFit/>
          </a:bodyPr>
          <a:lstStyle/>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O</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GO</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I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ustomerID</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err="1">
                <a:solidFill>
                  <a:srgbClr val="000000"/>
                </a:solidFill>
                <a:latin typeface="Consolas" panose="020B0609020204030204" pitchFamily="49" charset="0"/>
              </a:rPr>
              <a:t>OrderQty</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UnitPric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a:t>
            </a:r>
            <a:r>
              <a:rPr lang="en-US" sz="1600" dirty="0" err="1">
                <a:solidFill>
                  <a:srgbClr val="808080"/>
                </a:solidFill>
                <a:latin typeface="Consolas" panose="020B0609020204030204" pitchFamily="49" charset="0"/>
              </a:rPr>
              <a:t>.</a:t>
            </a:r>
            <a:r>
              <a:rPr lang="en-US" sz="1600" dirty="0" err="1">
                <a:solidFill>
                  <a:srgbClr val="0000FF"/>
                </a:solidFill>
                <a:latin typeface="Consolas" panose="020B0609020204030204" pitchFamily="49" charset="0"/>
              </a:rPr>
              <a:t>Name</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ales</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Head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SOH</a:t>
            </a:r>
          </a:p>
          <a:p>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ales</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Detail</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SOD</a:t>
            </a:r>
          </a:p>
          <a:p>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D</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endParaRPr lang="en-US" sz="1600" dirty="0">
              <a:solidFill>
                <a:srgbClr val="000000"/>
              </a:solidFill>
              <a:latin typeface="Consolas" panose="020B0609020204030204" pitchFamily="49" charset="0"/>
            </a:endParaRPr>
          </a:p>
          <a:p>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roduction</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P</a:t>
            </a:r>
          </a:p>
          <a:p>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D</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ID</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O</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I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FF</a:t>
            </a:r>
            <a:endParaRPr lang="en-US" sz="1600" dirty="0"/>
          </a:p>
        </p:txBody>
      </p:sp>
      <p:sp>
        <p:nvSpPr>
          <p:cNvPr id="15" name="TextBox 14">
            <a:extLst>
              <a:ext uri="{FF2B5EF4-FFF2-40B4-BE49-F238E27FC236}">
                <a16:creationId xmlns:a16="http://schemas.microsoft.com/office/drawing/2014/main" id="{371ED342-CFFA-47F0-9C2C-6291AE05F28A}"/>
              </a:ext>
            </a:extLst>
          </p:cNvPr>
          <p:cNvSpPr txBox="1"/>
          <p:nvPr/>
        </p:nvSpPr>
        <p:spPr>
          <a:xfrm>
            <a:off x="7154945" y="1834967"/>
            <a:ext cx="4006391" cy="1600438"/>
          </a:xfrm>
          <a:prstGeom prst="rect">
            <a:avLst/>
          </a:prstGeom>
          <a:noFill/>
        </p:spPr>
        <p:txBody>
          <a:bodyPr wrap="square" lIns="0" tIns="0" rIns="0" bIns="0" rtlCol="0">
            <a:spAutoFit/>
          </a:bodyPr>
          <a:lstStyle/>
          <a:p>
            <a:r>
              <a:rPr lang="en-US" sz="2800" dirty="0"/>
              <a:t>Used to identify physical reads and logical reads for a query </a:t>
            </a:r>
          </a:p>
          <a:p>
            <a:pPr algn="l"/>
            <a:endParaRPr lang="en-US" sz="2000" dirty="0">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BE8B8688-31F8-4377-A61A-8700BC00AD0B}"/>
              </a:ext>
            </a:extLst>
          </p:cNvPr>
          <p:cNvPicPr>
            <a:picLocks noChangeAspect="1"/>
          </p:cNvPicPr>
          <p:nvPr/>
        </p:nvPicPr>
        <p:blipFill>
          <a:blip r:embed="rId3"/>
          <a:stretch>
            <a:fillRect/>
          </a:stretch>
        </p:blipFill>
        <p:spPr>
          <a:xfrm>
            <a:off x="1808604" y="4058654"/>
            <a:ext cx="8574791" cy="20375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8476231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otal Query Response Time</a:t>
            </a:r>
          </a:p>
        </p:txBody>
      </p:sp>
      <p:sp>
        <p:nvSpPr>
          <p:cNvPr id="2" name="Text Placeholder 1"/>
          <p:cNvSpPr>
            <a:spLocks noGrp="1"/>
          </p:cNvSpPr>
          <p:nvPr>
            <p:ph sz="quarter" idx="13"/>
          </p:nvPr>
        </p:nvSpPr>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216717684"/>
              </p:ext>
            </p:extLst>
          </p:nvPr>
        </p:nvGraphicFramePr>
        <p:xfrm>
          <a:off x="792154" y="2681979"/>
          <a:ext cx="10711966" cy="3436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813364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Using SET STATISTICS IO and SET STATISTICS TIME to identify Logical Reads vs Physical Read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801915945"/>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Notable Waits</a:t>
            </a:r>
          </a:p>
        </p:txBody>
      </p:sp>
      <p:sp>
        <p:nvSpPr>
          <p:cNvPr id="2" name="Subtitle 1">
            <a:extLst>
              <a:ext uri="{FF2B5EF4-FFF2-40B4-BE49-F238E27FC236}">
                <a16:creationId xmlns:a16="http://schemas.microsoft.com/office/drawing/2014/main" id="{5A79A6D8-BA9C-4C2E-8D8C-B8163FE65119}"/>
              </a:ext>
            </a:extLst>
          </p:cNvPr>
          <p:cNvSpPr>
            <a:spLocks noGrp="1"/>
          </p:cNvSpPr>
          <p:nvPr>
            <p:ph type="subTitle" idx="1"/>
          </p:nvPr>
        </p:nvSpPr>
        <p:spPr/>
        <p:txBody>
          <a:bodyPr/>
          <a:lstStyle/>
          <a:p>
            <a:r>
              <a:rPr lang="en-US"/>
              <a:t>PAGE access related waits</a:t>
            </a:r>
          </a:p>
        </p:txBody>
      </p:sp>
      <p:graphicFrame>
        <p:nvGraphicFramePr>
          <p:cNvPr id="4" name="Content Placeholder 3">
            <a:extLst>
              <a:ext uri="{FF2B5EF4-FFF2-40B4-BE49-F238E27FC236}">
                <a16:creationId xmlns:a16="http://schemas.microsoft.com/office/drawing/2014/main" id="{30F04924-6A12-4B39-8448-1062E7D63EB4}"/>
              </a:ext>
            </a:extLst>
          </p:cNvPr>
          <p:cNvGraphicFramePr>
            <a:graphicFrameLocks noGrp="1"/>
          </p:cNvGraphicFramePr>
          <p:nvPr>
            <p:ph sz="quarter" idx="13"/>
            <p:extLst>
              <p:ext uri="{D42A27DB-BD31-4B8C-83A1-F6EECF244321}">
                <p14:modId xmlns:p14="http://schemas.microsoft.com/office/powerpoint/2010/main" val="71676152"/>
              </p:ext>
            </p:extLst>
          </p:nvPr>
        </p:nvGraphicFramePr>
        <p:xfrm>
          <a:off x="655638" y="1248048"/>
          <a:ext cx="10880725" cy="52899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718892951"/>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87E608-F038-E70D-FCB3-B5327DECA3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ED6DA8-2271-1ED1-6A33-9A3F241BAC2D}"/>
              </a:ext>
            </a:extLst>
          </p:cNvPr>
          <p:cNvSpPr>
            <a:spLocks noGrp="1"/>
          </p:cNvSpPr>
          <p:nvPr>
            <p:ph type="title"/>
          </p:nvPr>
        </p:nvSpPr>
        <p:spPr/>
        <p:txBody>
          <a:bodyPr/>
          <a:lstStyle/>
          <a:p>
            <a:r>
              <a:rPr lang="en-US" dirty="0"/>
              <a:t>Disk I/O monitoring and troubleshooting</a:t>
            </a:r>
          </a:p>
        </p:txBody>
      </p:sp>
      <p:sp>
        <p:nvSpPr>
          <p:cNvPr id="3" name="Subtitle 2">
            <a:extLst>
              <a:ext uri="{FF2B5EF4-FFF2-40B4-BE49-F238E27FC236}">
                <a16:creationId xmlns:a16="http://schemas.microsoft.com/office/drawing/2014/main" id="{E9B00F23-B03B-1549-BD3E-5F52FFF00EF3}"/>
              </a:ext>
            </a:extLst>
          </p:cNvPr>
          <p:cNvSpPr>
            <a:spLocks noGrp="1"/>
          </p:cNvSpPr>
          <p:nvPr>
            <p:ph type="subTitle" idx="1"/>
          </p:nvPr>
        </p:nvSpPr>
        <p:spPr/>
        <p:txBody>
          <a:bodyPr/>
          <a:lstStyle/>
          <a:p>
            <a:r>
              <a:rPr lang="en-US" dirty="0"/>
              <a:t>Disk Performance Counters</a:t>
            </a:r>
          </a:p>
        </p:txBody>
      </p:sp>
      <p:graphicFrame>
        <p:nvGraphicFramePr>
          <p:cNvPr id="6" name="Content Placeholder 5">
            <a:extLst>
              <a:ext uri="{FF2B5EF4-FFF2-40B4-BE49-F238E27FC236}">
                <a16:creationId xmlns:a16="http://schemas.microsoft.com/office/drawing/2014/main" id="{A13050F6-31D0-4B0A-805E-BB0BE03AE412}"/>
              </a:ext>
            </a:extLst>
          </p:cNvPr>
          <p:cNvGraphicFramePr>
            <a:graphicFrameLocks noGrp="1"/>
          </p:cNvGraphicFramePr>
          <p:nvPr>
            <p:ph sz="quarter" idx="13"/>
          </p:nvPr>
        </p:nvGraphicFramePr>
        <p:xfrm>
          <a:off x="655638" y="1408114"/>
          <a:ext cx="564495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D5F846F5-8458-DC23-BA4C-B95F733C6BE4}"/>
              </a:ext>
            </a:extLst>
          </p:cNvPr>
          <p:cNvPicPr>
            <a:picLocks noChangeAspect="1"/>
          </p:cNvPicPr>
          <p:nvPr/>
        </p:nvPicPr>
        <p:blipFill>
          <a:blip r:embed="rId8"/>
          <a:stretch>
            <a:fillRect/>
          </a:stretch>
        </p:blipFill>
        <p:spPr>
          <a:xfrm>
            <a:off x="6484334" y="1702596"/>
            <a:ext cx="5052028" cy="4230686"/>
          </a:xfrm>
          <a:prstGeom prst="rect">
            <a:avLst/>
          </a:prstGeom>
          <a:ln>
            <a:solidFill>
              <a:schemeClr val="tx1"/>
            </a:solidFill>
          </a:ln>
        </p:spPr>
      </p:pic>
    </p:spTree>
    <p:extLst>
      <p:ext uri="{BB962C8B-B14F-4D97-AF65-F5344CB8AC3E}">
        <p14:creationId xmlns:p14="http://schemas.microsoft.com/office/powerpoint/2010/main" val="31015615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0D9BF-38D7-B5F7-7061-1881DE440031}"/>
            </a:ext>
          </a:extLst>
        </p:cNvPr>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4D69F73-D49E-7962-96FA-BF3CA2CDEFD2}"/>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644E2997-318E-5D2A-91EF-AE751EB2D604}"/>
              </a:ext>
            </a:extLst>
          </p:cNvPr>
          <p:cNvSpPr>
            <a:spLocks noGrp="1"/>
          </p:cNvSpPr>
          <p:nvPr>
            <p:ph type="title"/>
          </p:nvPr>
        </p:nvSpPr>
        <p:spPr/>
        <p:txBody>
          <a:bodyPr/>
          <a:lstStyle/>
          <a:p>
            <a:r>
              <a:rPr lang="en-US" dirty="0"/>
              <a:t>Disk I/O</a:t>
            </a:r>
          </a:p>
        </p:txBody>
      </p:sp>
      <p:sp>
        <p:nvSpPr>
          <p:cNvPr id="3" name="Text Placeholder 2">
            <a:extLst>
              <a:ext uri="{FF2B5EF4-FFF2-40B4-BE49-F238E27FC236}">
                <a16:creationId xmlns:a16="http://schemas.microsoft.com/office/drawing/2014/main" id="{64E2401D-E718-896C-7236-1467943A1C26}"/>
              </a:ext>
            </a:extLst>
          </p:cNvPr>
          <p:cNvSpPr>
            <a:spLocks noGrp="1"/>
          </p:cNvSpPr>
          <p:nvPr>
            <p:ph type="body" sz="quarter" idx="10"/>
          </p:nvPr>
        </p:nvSpPr>
        <p:spPr/>
        <p:txBody>
          <a:bodyPr/>
          <a:lstStyle/>
          <a:p>
            <a:r>
              <a:rPr lang="en-US" dirty="0"/>
              <a:t>Monitoring and Troubleshooting Disk I/O</a:t>
            </a:r>
          </a:p>
        </p:txBody>
      </p:sp>
      <p:pic>
        <p:nvPicPr>
          <p:cNvPr id="7" name="Lab" descr="A close up of a sign&#10;&#10;Description automatically generated">
            <a:extLst>
              <a:ext uri="{FF2B5EF4-FFF2-40B4-BE49-F238E27FC236}">
                <a16:creationId xmlns:a16="http://schemas.microsoft.com/office/drawing/2014/main" id="{0E242343-1ECF-9D3A-31EA-D9E49B4F53E8}"/>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911262124"/>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Page Structure</a:t>
            </a:r>
          </a:p>
          <a:p>
            <a:r>
              <a:rPr lang="en-US" dirty="0"/>
              <a:t>Lesson 2: SQL Server Disk I/O</a:t>
            </a:r>
          </a:p>
          <a:p>
            <a:r>
              <a:rPr lang="en-US" dirty="0"/>
              <a:t>Lesson 3: SQL Server Data File Structure</a:t>
            </a:r>
          </a:p>
          <a:p>
            <a:r>
              <a:rPr lang="en-US" dirty="0"/>
              <a:t>Lesson 4: SQL Server TempDB File Structure</a:t>
            </a:r>
          </a:p>
          <a:p>
            <a:r>
              <a:rPr lang="en-US" dirty="0"/>
              <a:t>Lesson 5: SQL Server Log File Structure</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518969536"/>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2782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93386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3: SQL Server Data File Structure</a:t>
            </a:r>
            <a:endParaRPr lang="en-US" dirty="0"/>
          </a:p>
        </p:txBody>
      </p:sp>
    </p:spTree>
    <p:extLst>
      <p:ext uri="{BB962C8B-B14F-4D97-AF65-F5344CB8AC3E}">
        <p14:creationId xmlns:p14="http://schemas.microsoft.com/office/powerpoint/2010/main" val="32650423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data file structure.</a:t>
            </a:r>
          </a:p>
          <a:p>
            <a:r>
              <a:rPr lang="en-US" dirty="0"/>
              <a:t>Describe SQL Server allocation objects, and object allocation proces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78D2B-E078-4374-9A00-8BE599CDC800}"/>
              </a:ext>
            </a:extLst>
          </p:cNvPr>
          <p:cNvSpPr>
            <a:spLocks noGrp="1"/>
          </p:cNvSpPr>
          <p:nvPr>
            <p:ph type="title"/>
          </p:nvPr>
        </p:nvSpPr>
        <p:spPr/>
        <p:txBody>
          <a:bodyPr/>
          <a:lstStyle/>
          <a:p>
            <a:r>
              <a:rPr lang="en-US" dirty="0"/>
              <a:t>SQL Server object allocation</a:t>
            </a:r>
          </a:p>
        </p:txBody>
      </p:sp>
      <p:sp>
        <p:nvSpPr>
          <p:cNvPr id="4" name="Content Placeholder 3">
            <a:extLst>
              <a:ext uri="{FF2B5EF4-FFF2-40B4-BE49-F238E27FC236}">
                <a16:creationId xmlns:a16="http://schemas.microsoft.com/office/drawing/2014/main" id="{DEE7FFCE-48C3-4FF3-AEAD-B2A2EDD4C621}"/>
              </a:ext>
            </a:extLst>
          </p:cNvPr>
          <p:cNvSpPr>
            <a:spLocks noGrp="1"/>
          </p:cNvSpPr>
          <p:nvPr>
            <p:ph sz="quarter" idx="13"/>
          </p:nvPr>
        </p:nvSpPr>
        <p:spPr>
          <a:xfrm>
            <a:off x="457675" y="1511809"/>
            <a:ext cx="10880726" cy="4819650"/>
          </a:xfrm>
        </p:spPr>
        <p:txBody>
          <a:bodyPr/>
          <a:lstStyle/>
          <a:p>
            <a:r>
              <a:rPr lang="en-US" dirty="0"/>
              <a:t>Data files are structured in extents. </a:t>
            </a:r>
          </a:p>
          <a:p>
            <a:r>
              <a:rPr lang="en-US" dirty="0"/>
              <a:t>Each extent (64 KB) has eight pages of 8 KB each.</a:t>
            </a:r>
          </a:p>
          <a:p>
            <a:r>
              <a:rPr lang="en-US" dirty="0"/>
              <a:t>Two types of extents:</a:t>
            </a:r>
          </a:p>
          <a:p>
            <a:pPr lvl="1"/>
            <a:r>
              <a:rPr lang="en-US" dirty="0"/>
              <a:t>Mixed extents</a:t>
            </a:r>
          </a:p>
          <a:p>
            <a:pPr lvl="2"/>
            <a:r>
              <a:rPr lang="en-US" dirty="0"/>
              <a:t>Up to 8 distinct objects can reside in the same Mixed Extent.</a:t>
            </a:r>
          </a:p>
          <a:p>
            <a:pPr lvl="2"/>
            <a:r>
              <a:rPr lang="en-US" dirty="0"/>
              <a:t>Controlled by SGAM (Shared Global Allocation Map) Object.</a:t>
            </a:r>
          </a:p>
          <a:p>
            <a:pPr lvl="1"/>
            <a:r>
              <a:rPr lang="en-US" dirty="0"/>
              <a:t>Uniform extents</a:t>
            </a:r>
          </a:p>
          <a:p>
            <a:pPr lvl="2"/>
            <a:r>
              <a:rPr lang="en-US" dirty="0"/>
              <a:t>All pages belong to the same object.</a:t>
            </a:r>
          </a:p>
          <a:p>
            <a:pPr lvl="2"/>
            <a:r>
              <a:rPr lang="en-US" dirty="0"/>
              <a:t>Controlled by GAM (Global Allocation Map) object.</a:t>
            </a:r>
          </a:p>
          <a:p>
            <a:endParaRPr lang="en-US" dirty="0"/>
          </a:p>
        </p:txBody>
      </p:sp>
      <p:pic>
        <p:nvPicPr>
          <p:cNvPr id="11" name="Picture 10">
            <a:extLst>
              <a:ext uri="{FF2B5EF4-FFF2-40B4-BE49-F238E27FC236}">
                <a16:creationId xmlns:a16="http://schemas.microsoft.com/office/drawing/2014/main" id="{51ADF6DC-D03B-4CE8-921F-59147DE93FA8}"/>
              </a:ext>
            </a:extLst>
          </p:cNvPr>
          <p:cNvPicPr>
            <a:picLocks noChangeAspect="1"/>
          </p:cNvPicPr>
          <p:nvPr/>
        </p:nvPicPr>
        <p:blipFill>
          <a:blip r:embed="rId3"/>
          <a:stretch>
            <a:fillRect/>
          </a:stretch>
        </p:blipFill>
        <p:spPr>
          <a:xfrm>
            <a:off x="7166442" y="2621610"/>
            <a:ext cx="4726610" cy="2135418"/>
          </a:xfrm>
          <a:prstGeom prst="rect">
            <a:avLst/>
          </a:prstGeom>
        </p:spPr>
      </p:pic>
    </p:spTree>
    <p:extLst>
      <p:ext uri="{BB962C8B-B14F-4D97-AF65-F5344CB8AC3E}">
        <p14:creationId xmlns:p14="http://schemas.microsoft.com/office/powerpoint/2010/main" val="4776902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456937">
              <a:lnSpc>
                <a:spcPts val="3500"/>
              </a:lnSpc>
            </a:pPr>
            <a:r>
              <a:rPr lang="en-US" sz="3600" spc="0">
                <a:ln>
                  <a:noFill/>
                </a:ln>
                <a:solidFill>
                  <a:srgbClr val="44546A"/>
                </a:solidFill>
                <a:ea typeface="+mj-ea"/>
                <a:cs typeface="Segoe UI Light"/>
              </a:rPr>
              <a:t>The Role of Allocation Pages in Object Allocation</a:t>
            </a:r>
            <a:endParaRPr lang="en-US" sz="3600" spc="0" dirty="0">
              <a:ln>
                <a:noFill/>
              </a:ln>
              <a:solidFill>
                <a:srgbClr val="44546A"/>
              </a:solidFill>
              <a:ea typeface="+mj-ea"/>
              <a:cs typeface="Segoe UI Light"/>
            </a:endParaRPr>
          </a:p>
        </p:txBody>
      </p:sp>
      <p:graphicFrame>
        <p:nvGraphicFramePr>
          <p:cNvPr id="5" name="Content Placeholder 5"/>
          <p:cNvGraphicFramePr>
            <a:graphicFrameLocks/>
          </p:cNvGraphicFramePr>
          <p:nvPr>
            <p:extLst>
              <p:ext uri="{D42A27DB-BD31-4B8C-83A1-F6EECF244321}">
                <p14:modId xmlns:p14="http://schemas.microsoft.com/office/powerpoint/2010/main" val="927190097"/>
              </p:ext>
            </p:extLst>
          </p:nvPr>
        </p:nvGraphicFramePr>
        <p:xfrm>
          <a:off x="570653" y="889491"/>
          <a:ext cx="11050695" cy="55193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08737598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18096-EFAF-4F0A-9A03-DAA18150F937}"/>
              </a:ext>
            </a:extLst>
          </p:cNvPr>
          <p:cNvSpPr>
            <a:spLocks noGrp="1"/>
          </p:cNvSpPr>
          <p:nvPr>
            <p:ph type="title"/>
          </p:nvPr>
        </p:nvSpPr>
        <p:spPr/>
        <p:txBody>
          <a:bodyPr/>
          <a:lstStyle/>
          <a:p>
            <a:r>
              <a:rPr lang="en-US" dirty="0"/>
              <a:t>Allocation objects</a:t>
            </a:r>
          </a:p>
        </p:txBody>
      </p:sp>
      <p:graphicFrame>
        <p:nvGraphicFramePr>
          <p:cNvPr id="5" name="Content Placeholder 4">
            <a:extLst>
              <a:ext uri="{FF2B5EF4-FFF2-40B4-BE49-F238E27FC236}">
                <a16:creationId xmlns:a16="http://schemas.microsoft.com/office/drawing/2014/main" id="{FD07C3D9-32E8-4A8D-BBB5-CAF64E36BFD8}"/>
              </a:ext>
            </a:extLst>
          </p:cNvPr>
          <p:cNvGraphicFramePr>
            <a:graphicFrameLocks noGrp="1"/>
          </p:cNvGraphicFramePr>
          <p:nvPr>
            <p:ph sz="quarter" idx="13"/>
            <p:extLst>
              <p:ext uri="{D42A27DB-BD31-4B8C-83A1-F6EECF244321}">
                <p14:modId xmlns:p14="http://schemas.microsoft.com/office/powerpoint/2010/main" val="2818132564"/>
              </p:ext>
            </p:extLst>
          </p:nvPr>
        </p:nvGraphicFramePr>
        <p:xfrm>
          <a:off x="655638" y="1181100"/>
          <a:ext cx="10880725" cy="40138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AFCC59C7-4FAE-47C2-9722-E61138D159A7}"/>
              </a:ext>
            </a:extLst>
          </p:cNvPr>
          <p:cNvPicPr>
            <a:picLocks noChangeAspect="1"/>
          </p:cNvPicPr>
          <p:nvPr/>
        </p:nvPicPr>
        <p:blipFill>
          <a:blip r:embed="rId8"/>
          <a:stretch>
            <a:fillRect/>
          </a:stretch>
        </p:blipFill>
        <p:spPr>
          <a:xfrm>
            <a:off x="2805027" y="5415971"/>
            <a:ext cx="6783716" cy="1121989"/>
          </a:xfrm>
          <a:prstGeom prst="rect">
            <a:avLst/>
          </a:prstGeom>
        </p:spPr>
      </p:pic>
    </p:spTree>
    <p:extLst>
      <p:ext uri="{BB962C8B-B14F-4D97-AF65-F5344CB8AC3E}">
        <p14:creationId xmlns:p14="http://schemas.microsoft.com/office/powerpoint/2010/main" val="40193568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61D67-A463-43BA-8449-EB2E0ACE2C31}"/>
              </a:ext>
            </a:extLst>
          </p:cNvPr>
          <p:cNvSpPr>
            <a:spLocks noGrp="1"/>
          </p:cNvSpPr>
          <p:nvPr>
            <p:ph type="title"/>
          </p:nvPr>
        </p:nvSpPr>
        <p:spPr/>
        <p:txBody>
          <a:bodyPr/>
          <a:lstStyle/>
          <a:p>
            <a:r>
              <a:rPr lang="en-US" dirty="0"/>
              <a:t>Database File page layout</a:t>
            </a:r>
          </a:p>
        </p:txBody>
      </p:sp>
      <p:graphicFrame>
        <p:nvGraphicFramePr>
          <p:cNvPr id="5" name="Table 4">
            <a:extLst>
              <a:ext uri="{FF2B5EF4-FFF2-40B4-BE49-F238E27FC236}">
                <a16:creationId xmlns:a16="http://schemas.microsoft.com/office/drawing/2014/main" id="{1C6A2CE6-B3C5-4112-8DF3-F608BD55F582}"/>
              </a:ext>
            </a:extLst>
          </p:cNvPr>
          <p:cNvGraphicFramePr>
            <a:graphicFrameLocks noGrp="1"/>
          </p:cNvGraphicFramePr>
          <p:nvPr>
            <p:extLst>
              <p:ext uri="{D42A27DB-BD31-4B8C-83A1-F6EECF244321}">
                <p14:modId xmlns:p14="http://schemas.microsoft.com/office/powerpoint/2010/main" val="3915708973"/>
              </p:ext>
            </p:extLst>
          </p:nvPr>
        </p:nvGraphicFramePr>
        <p:xfrm>
          <a:off x="1401310" y="1723012"/>
          <a:ext cx="2362200" cy="407924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6" name="Rounded Rectangle 72">
            <a:extLst>
              <a:ext uri="{FF2B5EF4-FFF2-40B4-BE49-F238E27FC236}">
                <a16:creationId xmlns:a16="http://schemas.microsoft.com/office/drawing/2014/main" id="{A28BFD51-2AC6-47C7-A73C-FA75CAE1A2BE}"/>
              </a:ext>
            </a:extLst>
          </p:cNvPr>
          <p:cNvSpPr/>
          <p:nvPr/>
        </p:nvSpPr>
        <p:spPr>
          <a:xfrm>
            <a:off x="2468111" y="2088150"/>
            <a:ext cx="1273629" cy="369332"/>
          </a:xfrm>
          <a:prstGeom prst="roundRect">
            <a:avLst/>
          </a:prstGeom>
          <a:solidFill>
            <a:srgbClr val="129038">
              <a:lumMod val="40000"/>
              <a:lumOff val="60000"/>
            </a:srgbClr>
          </a:solidFill>
          <a:ln w="25400" cap="flat" cmpd="sng" algn="ctr">
            <a:solidFill>
              <a:srgbClr val="129038"/>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CE46CDA2-3218-40AC-94A4-C0647161DE5E}"/>
              </a:ext>
            </a:extLst>
          </p:cNvPr>
          <p:cNvSpPr txBox="1"/>
          <p:nvPr/>
        </p:nvSpPr>
        <p:spPr>
          <a:xfrm>
            <a:off x="1401310" y="1321023"/>
            <a:ext cx="23622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MyDBFile1.mdf</a:t>
            </a:r>
          </a:p>
        </p:txBody>
      </p:sp>
      <p:sp>
        <p:nvSpPr>
          <p:cNvPr id="8" name="TextBox 7">
            <a:extLst>
              <a:ext uri="{FF2B5EF4-FFF2-40B4-BE49-F238E27FC236}">
                <a16:creationId xmlns:a16="http://schemas.microsoft.com/office/drawing/2014/main" id="{5D4C0554-ECE6-47D6-A8D2-F598B4F0AF0A}"/>
              </a:ext>
            </a:extLst>
          </p:cNvPr>
          <p:cNvSpPr txBox="1"/>
          <p:nvPr/>
        </p:nvSpPr>
        <p:spPr>
          <a:xfrm>
            <a:off x="2468110" y="1718818"/>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Header</a:t>
            </a:r>
          </a:p>
        </p:txBody>
      </p:sp>
      <p:sp>
        <p:nvSpPr>
          <p:cNvPr id="9" name="TextBox 8">
            <a:extLst>
              <a:ext uri="{FF2B5EF4-FFF2-40B4-BE49-F238E27FC236}">
                <a16:creationId xmlns:a16="http://schemas.microsoft.com/office/drawing/2014/main" id="{4B9938E2-B9E0-4512-8721-A1BF05EC5846}"/>
              </a:ext>
            </a:extLst>
          </p:cNvPr>
          <p:cNvSpPr txBox="1"/>
          <p:nvPr/>
        </p:nvSpPr>
        <p:spPr>
          <a:xfrm>
            <a:off x="2468110" y="2457482"/>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GAM</a:t>
            </a:r>
          </a:p>
        </p:txBody>
      </p:sp>
      <p:sp>
        <p:nvSpPr>
          <p:cNvPr id="10" name="TextBox 9">
            <a:extLst>
              <a:ext uri="{FF2B5EF4-FFF2-40B4-BE49-F238E27FC236}">
                <a16:creationId xmlns:a16="http://schemas.microsoft.com/office/drawing/2014/main" id="{B22F8EC4-2719-4049-89D2-302B50052F15}"/>
              </a:ext>
            </a:extLst>
          </p:cNvPr>
          <p:cNvSpPr txBox="1"/>
          <p:nvPr/>
        </p:nvSpPr>
        <p:spPr>
          <a:xfrm>
            <a:off x="2468110" y="2088150"/>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PFS</a:t>
            </a:r>
          </a:p>
        </p:txBody>
      </p:sp>
      <p:sp>
        <p:nvSpPr>
          <p:cNvPr id="11" name="TextBox 10">
            <a:extLst>
              <a:ext uri="{FF2B5EF4-FFF2-40B4-BE49-F238E27FC236}">
                <a16:creationId xmlns:a16="http://schemas.microsoft.com/office/drawing/2014/main" id="{4D49CB41-447D-4C48-994F-D342AB6F72EF}"/>
              </a:ext>
            </a:extLst>
          </p:cNvPr>
          <p:cNvSpPr txBox="1"/>
          <p:nvPr/>
        </p:nvSpPr>
        <p:spPr>
          <a:xfrm>
            <a:off x="2468110" y="283194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SGAM</a:t>
            </a:r>
          </a:p>
        </p:txBody>
      </p:sp>
      <p:sp>
        <p:nvSpPr>
          <p:cNvPr id="12" name="TextBox 11">
            <a:extLst>
              <a:ext uri="{FF2B5EF4-FFF2-40B4-BE49-F238E27FC236}">
                <a16:creationId xmlns:a16="http://schemas.microsoft.com/office/drawing/2014/main" id="{B0FECDD6-8553-41B3-BF35-AD48813C9BAA}"/>
              </a:ext>
            </a:extLst>
          </p:cNvPr>
          <p:cNvSpPr txBox="1"/>
          <p:nvPr/>
        </p:nvSpPr>
        <p:spPr>
          <a:xfrm>
            <a:off x="2468111" y="3227456"/>
            <a:ext cx="1273629" cy="646331"/>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IAM/Data /Index/etc.</a:t>
            </a:r>
          </a:p>
        </p:txBody>
      </p:sp>
      <p:sp>
        <p:nvSpPr>
          <p:cNvPr id="13" name="TextBox 12">
            <a:extLst>
              <a:ext uri="{FF2B5EF4-FFF2-40B4-BE49-F238E27FC236}">
                <a16:creationId xmlns:a16="http://schemas.microsoft.com/office/drawing/2014/main" id="{7B78F416-3286-411B-AA53-363CCCBBF0BD}"/>
              </a:ext>
            </a:extLst>
          </p:cNvPr>
          <p:cNvSpPr txBox="1"/>
          <p:nvPr/>
        </p:nvSpPr>
        <p:spPr>
          <a:xfrm>
            <a:off x="2468110" y="392349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PFS</a:t>
            </a:r>
          </a:p>
        </p:txBody>
      </p:sp>
      <p:sp>
        <p:nvSpPr>
          <p:cNvPr id="14" name="TextBox 13">
            <a:extLst>
              <a:ext uri="{FF2B5EF4-FFF2-40B4-BE49-F238E27FC236}">
                <a16:creationId xmlns:a16="http://schemas.microsoft.com/office/drawing/2014/main" id="{53C48E06-F927-45E9-BEB1-43324A860659}"/>
              </a:ext>
            </a:extLst>
          </p:cNvPr>
          <p:cNvSpPr txBox="1"/>
          <p:nvPr/>
        </p:nvSpPr>
        <p:spPr>
          <a:xfrm>
            <a:off x="2468111" y="4369024"/>
            <a:ext cx="1273629" cy="523220"/>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400" b="0" i="0" u="none" strike="noStrike" kern="0" cap="none" spc="0" normalizeH="0" baseline="0" noProof="0" dirty="0">
                <a:ln>
                  <a:noFill/>
                </a:ln>
                <a:solidFill>
                  <a:srgbClr val="000000"/>
                </a:solidFill>
                <a:effectLst/>
                <a:uLnTx/>
                <a:uFillTx/>
              </a:rPr>
              <a:t>IAM/Data /Index/others</a:t>
            </a:r>
          </a:p>
        </p:txBody>
      </p:sp>
      <p:sp>
        <p:nvSpPr>
          <p:cNvPr id="15" name="TextBox 14">
            <a:extLst>
              <a:ext uri="{FF2B5EF4-FFF2-40B4-BE49-F238E27FC236}">
                <a16:creationId xmlns:a16="http://schemas.microsoft.com/office/drawing/2014/main" id="{9886952C-36D4-43F6-851F-8D4DCF098EA3}"/>
              </a:ext>
            </a:extLst>
          </p:cNvPr>
          <p:cNvSpPr txBox="1"/>
          <p:nvPr/>
        </p:nvSpPr>
        <p:spPr>
          <a:xfrm>
            <a:off x="2457224" y="506649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GAM</a:t>
            </a:r>
          </a:p>
        </p:txBody>
      </p:sp>
      <p:sp>
        <p:nvSpPr>
          <p:cNvPr id="16" name="TextBox 15">
            <a:extLst>
              <a:ext uri="{FF2B5EF4-FFF2-40B4-BE49-F238E27FC236}">
                <a16:creationId xmlns:a16="http://schemas.microsoft.com/office/drawing/2014/main" id="{507280C5-6C11-4E62-9AF0-DAD2C83D1627}"/>
              </a:ext>
            </a:extLst>
          </p:cNvPr>
          <p:cNvSpPr txBox="1"/>
          <p:nvPr/>
        </p:nvSpPr>
        <p:spPr>
          <a:xfrm>
            <a:off x="2457224" y="5435823"/>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SGAM</a:t>
            </a:r>
          </a:p>
        </p:txBody>
      </p:sp>
      <p:sp>
        <p:nvSpPr>
          <p:cNvPr id="17" name="Right Brace 16">
            <a:extLst>
              <a:ext uri="{FF2B5EF4-FFF2-40B4-BE49-F238E27FC236}">
                <a16:creationId xmlns:a16="http://schemas.microsoft.com/office/drawing/2014/main" id="{1E05067F-F2A2-4F61-A8CB-718B2C413B5F}"/>
              </a:ext>
            </a:extLst>
          </p:cNvPr>
          <p:cNvSpPr/>
          <p:nvPr/>
        </p:nvSpPr>
        <p:spPr>
          <a:xfrm>
            <a:off x="3763510" y="2457483"/>
            <a:ext cx="457200" cy="1466009"/>
          </a:xfrm>
          <a:prstGeom prst="rightBrace">
            <a:avLst>
              <a:gd name="adj1" fmla="val 8333"/>
              <a:gd name="adj2" fmla="val 48020"/>
            </a:avLst>
          </a:prstGeom>
          <a:noFill/>
          <a:ln w="25400" cap="flat" cmpd="sng" algn="ctr">
            <a:solidFill>
              <a:srgbClr val="129038"/>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0889B0EA-1F5D-44C0-8A1B-F49E883396CC}"/>
              </a:ext>
            </a:extLst>
          </p:cNvPr>
          <p:cNvSpPr txBox="1"/>
          <p:nvPr/>
        </p:nvSpPr>
        <p:spPr>
          <a:xfrm>
            <a:off x="4220710" y="3016608"/>
            <a:ext cx="1905000" cy="646331"/>
          </a:xfrm>
          <a:prstGeom prst="rect">
            <a:avLst/>
          </a:prstGeom>
          <a:solidFill>
            <a:sysClr val="window" lastClr="FFFFFF"/>
          </a:solidFill>
          <a:ln w="25400" cap="flat" cmpd="sng" algn="ctr">
            <a:solidFill>
              <a:srgbClr val="129038"/>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Free Space</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8,087 Pages</a:t>
            </a:r>
          </a:p>
        </p:txBody>
      </p:sp>
      <p:sp>
        <p:nvSpPr>
          <p:cNvPr id="19" name="Right Brace 18">
            <a:extLst>
              <a:ext uri="{FF2B5EF4-FFF2-40B4-BE49-F238E27FC236}">
                <a16:creationId xmlns:a16="http://schemas.microsoft.com/office/drawing/2014/main" id="{82B753F8-5D03-4C1C-BB58-85DDC76F72BF}"/>
              </a:ext>
            </a:extLst>
          </p:cNvPr>
          <p:cNvSpPr/>
          <p:nvPr/>
        </p:nvSpPr>
        <p:spPr>
          <a:xfrm>
            <a:off x="3763510" y="2817615"/>
            <a:ext cx="457200" cy="2248876"/>
          </a:xfrm>
          <a:prstGeom prst="rightBrace">
            <a:avLst>
              <a:gd name="adj1" fmla="val 8333"/>
              <a:gd name="adj2" fmla="val 48020"/>
            </a:avLst>
          </a:prstGeom>
          <a:no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0" name="Right Brace 19">
            <a:extLst>
              <a:ext uri="{FF2B5EF4-FFF2-40B4-BE49-F238E27FC236}">
                <a16:creationId xmlns:a16="http://schemas.microsoft.com/office/drawing/2014/main" id="{D66C67C5-A15F-4184-875D-7D8631723D38}"/>
              </a:ext>
            </a:extLst>
          </p:cNvPr>
          <p:cNvSpPr/>
          <p:nvPr/>
        </p:nvSpPr>
        <p:spPr>
          <a:xfrm>
            <a:off x="3785281" y="3205919"/>
            <a:ext cx="457200" cy="2248876"/>
          </a:xfrm>
          <a:prstGeom prst="rightBrace">
            <a:avLst>
              <a:gd name="adj1" fmla="val 8333"/>
              <a:gd name="adj2" fmla="val 48020"/>
            </a:avLst>
          </a:prstGeom>
          <a:noFill/>
          <a:ln w="25400" cap="flat" cmpd="sng" algn="ctr">
            <a:solidFill>
              <a:srgbClr val="0E715F"/>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3464366556"/>
              </p:ext>
            </p:extLst>
          </p:nvPr>
        </p:nvGraphicFramePr>
        <p:xfrm>
          <a:off x="7971291" y="1543538"/>
          <a:ext cx="2362200" cy="442468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oth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oth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2" name="TextBox 21">
            <a:extLst>
              <a:ext uri="{FF2B5EF4-FFF2-40B4-BE49-F238E27FC236}">
                <a16:creationId xmlns:a16="http://schemas.microsoft.com/office/drawing/2014/main" id="{C0CC01CE-D736-4B12-905D-DBF78C7882A8}"/>
              </a:ext>
            </a:extLst>
          </p:cNvPr>
          <p:cNvSpPr txBox="1"/>
          <p:nvPr/>
        </p:nvSpPr>
        <p:spPr>
          <a:xfrm>
            <a:off x="7971291" y="1156454"/>
            <a:ext cx="23622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MyDBFile2.ndf</a:t>
            </a:r>
          </a:p>
        </p:txBody>
      </p:sp>
      <p:sp>
        <p:nvSpPr>
          <p:cNvPr id="23" name="TextBox 22">
            <a:extLst>
              <a:ext uri="{FF2B5EF4-FFF2-40B4-BE49-F238E27FC236}">
                <a16:creationId xmlns:a16="http://schemas.microsoft.com/office/drawing/2014/main" id="{523ABDFA-4E0E-44DD-83C5-F65B6D34CB04}"/>
              </a:ext>
            </a:extLst>
          </p:cNvPr>
          <p:cNvSpPr txBox="1"/>
          <p:nvPr/>
        </p:nvSpPr>
        <p:spPr>
          <a:xfrm>
            <a:off x="4220710" y="3668053"/>
            <a:ext cx="2438400" cy="923330"/>
          </a:xfrm>
          <a:prstGeom prst="rect">
            <a:avLst/>
          </a:prstGeom>
          <a:solidFill>
            <a:sysClr val="window" lastClr="FFFFFF"/>
          </a:solidFill>
          <a:ln w="25400" cap="flat" cmpd="sng" algn="ctr">
            <a:solidFill>
              <a:srgbClr val="15AEEF"/>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Global Allocation Map</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Uniform Extents</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63,904 Extents</a:t>
            </a:r>
          </a:p>
        </p:txBody>
      </p:sp>
      <p:sp>
        <p:nvSpPr>
          <p:cNvPr id="24" name="TextBox 23">
            <a:extLst>
              <a:ext uri="{FF2B5EF4-FFF2-40B4-BE49-F238E27FC236}">
                <a16:creationId xmlns:a16="http://schemas.microsoft.com/office/drawing/2014/main" id="{34741F57-93FC-4537-8A09-20EC5A1C7332}"/>
              </a:ext>
            </a:extLst>
          </p:cNvPr>
          <p:cNvSpPr txBox="1"/>
          <p:nvPr/>
        </p:nvSpPr>
        <p:spPr>
          <a:xfrm>
            <a:off x="4242481" y="4056358"/>
            <a:ext cx="2438400" cy="1200329"/>
          </a:xfrm>
          <a:prstGeom prst="rect">
            <a:avLst/>
          </a:prstGeom>
          <a:solidFill>
            <a:sysClr val="window" lastClr="FFFFFF"/>
          </a:solidFill>
          <a:ln w="25400" cap="flat" cmpd="sng" algn="ctr">
            <a:solidFill>
              <a:srgbClr val="0E715F"/>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Shared Global Allocation Map</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Mixed Extents</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63,904 Extents</a:t>
            </a:r>
          </a:p>
        </p:txBody>
      </p:sp>
      <p:sp>
        <p:nvSpPr>
          <p:cNvPr id="25" name="Rectangle 24">
            <a:extLst>
              <a:ext uri="{FF2B5EF4-FFF2-40B4-BE49-F238E27FC236}">
                <a16:creationId xmlns:a16="http://schemas.microsoft.com/office/drawing/2014/main" id="{A3E2592D-CBBC-45FD-94E8-D632116DB080}"/>
              </a:ext>
            </a:extLst>
          </p:cNvPr>
          <p:cNvSpPr/>
          <p:nvPr/>
        </p:nvSpPr>
        <p:spPr>
          <a:xfrm>
            <a:off x="4547281" y="953533"/>
            <a:ext cx="2133600" cy="928457"/>
          </a:xfrm>
          <a:prstGeom prst="rect">
            <a:avLst/>
          </a:prstGeom>
          <a:solidFill>
            <a:sysClr val="window" lastClr="FFFFFF"/>
          </a:solidFill>
          <a:ln w="25400" cap="flat" cmpd="sng" algn="ctr">
            <a:solidFill>
              <a:srgbClr val="129038"/>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Address is</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DBID:FileID:Page#</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5:1:1</a:t>
            </a:r>
          </a:p>
        </p:txBody>
      </p:sp>
      <p:cxnSp>
        <p:nvCxnSpPr>
          <p:cNvPr id="26" name="Straight Arrow Connector 25">
            <a:extLst>
              <a:ext uri="{FF2B5EF4-FFF2-40B4-BE49-F238E27FC236}">
                <a16:creationId xmlns:a16="http://schemas.microsoft.com/office/drawing/2014/main" id="{3BEF68C5-82B0-43EE-9C13-8DDF8E7F84B7}"/>
              </a:ext>
            </a:extLst>
          </p:cNvPr>
          <p:cNvCxnSpPr>
            <a:stCxn id="10" idx="3"/>
            <a:endCxn id="25" idx="1"/>
          </p:cNvCxnSpPr>
          <p:nvPr/>
        </p:nvCxnSpPr>
        <p:spPr>
          <a:xfrm flipV="1">
            <a:off x="3763510" y="1417762"/>
            <a:ext cx="783771" cy="855054"/>
          </a:xfrm>
          <a:prstGeom prst="straightConnector1">
            <a:avLst/>
          </a:prstGeom>
          <a:noFill/>
          <a:ln w="25400" cap="flat" cmpd="sng" algn="ctr">
            <a:solidFill>
              <a:srgbClr val="0C6126"/>
            </a:solidFill>
            <a:prstDash val="solid"/>
            <a:tailEnd type="arrow"/>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291468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1+#ppt_w/2"/>
                                          </p:val>
                                        </p:tav>
                                        <p:tav tm="100000">
                                          <p:val>
                                            <p:strVal val="#ppt_x"/>
                                          </p:val>
                                        </p:tav>
                                      </p:tavLst>
                                    </p:anim>
                                    <p:anim calcmode="lin" valueType="num">
                                      <p:cBhvr additive="base">
                                        <p:cTn id="14"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ppt_x"/>
                                          </p:val>
                                        </p:tav>
                                        <p:tav tm="100000">
                                          <p:val>
                                            <p:strVal val="#ppt_x"/>
                                          </p:val>
                                        </p:tav>
                                      </p:tavLst>
                                    </p:anim>
                                    <p:anim calcmode="lin" valueType="num">
                                      <p:cBhvr additive="base">
                                        <p:cTn id="28" dur="500" fill="hold"/>
                                        <p:tgtEl>
                                          <p:spTgt spid="17"/>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0-#ppt_h/2"/>
                                          </p:val>
                                        </p:tav>
                                        <p:tav tm="100000">
                                          <p:val>
                                            <p:strVal val="#ppt_y"/>
                                          </p:val>
                                        </p:tav>
                                      </p:tavLst>
                                    </p:anim>
                                  </p:childTnLst>
                                </p:cTn>
                              </p:par>
                              <p:par>
                                <p:cTn id="33" presetID="1" presetClass="exit" presetSubtype="0" fill="hold" grpId="1" nodeType="withEffect">
                                  <p:stCondLst>
                                    <p:cond delay="0"/>
                                  </p:stCondLst>
                                  <p:childTnLst>
                                    <p:set>
                                      <p:cBhvr>
                                        <p:cTn id="34" dur="1" fill="hold">
                                          <p:stCondLst>
                                            <p:cond delay="0"/>
                                          </p:stCondLst>
                                        </p:cTn>
                                        <p:tgtEl>
                                          <p:spTgt spid="6"/>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26"/>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25"/>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1+#ppt_w/2"/>
                                          </p:val>
                                        </p:tav>
                                        <p:tav tm="100000">
                                          <p:val>
                                            <p:strVal val="#ppt_x"/>
                                          </p:val>
                                        </p:tav>
                                      </p:tavLst>
                                    </p:anim>
                                    <p:anim calcmode="lin" valueType="num">
                                      <p:cBhvr additive="base">
                                        <p:cTn id="44"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1+#ppt_w/2"/>
                                          </p:val>
                                        </p:tav>
                                        <p:tav tm="100000">
                                          <p:val>
                                            <p:strVal val="#ppt_x"/>
                                          </p:val>
                                        </p:tav>
                                      </p:tavLst>
                                    </p:anim>
                                    <p:anim calcmode="lin" valueType="num">
                                      <p:cBhvr additive="base">
                                        <p:cTn id="50" dur="500" fill="hold"/>
                                        <p:tgtEl>
                                          <p:spTgt spid="9"/>
                                        </p:tgtEl>
                                        <p:attrNameLst>
                                          <p:attrName>ppt_y</p:attrName>
                                        </p:attrNameLst>
                                      </p:cBhvr>
                                      <p:tavLst>
                                        <p:tav tm="0">
                                          <p:val>
                                            <p:strVal val="#ppt_y"/>
                                          </p:val>
                                        </p:tav>
                                        <p:tav tm="100000">
                                          <p:val>
                                            <p:strVal val="#ppt_y"/>
                                          </p:val>
                                        </p:tav>
                                      </p:tavLst>
                                    </p:anim>
                                  </p:childTnLst>
                                </p:cTn>
                              </p:par>
                              <p:par>
                                <p:cTn id="51" presetID="1" presetClass="exit" presetSubtype="0" fill="hold" grpId="1" nodeType="withEffect">
                                  <p:stCondLst>
                                    <p:cond delay="0"/>
                                  </p:stCondLst>
                                  <p:childTnLst>
                                    <p:set>
                                      <p:cBhvr>
                                        <p:cTn id="52" dur="1" fill="hold">
                                          <p:stCondLst>
                                            <p:cond delay="0"/>
                                          </p:stCondLst>
                                        </p:cTn>
                                        <p:tgtEl>
                                          <p:spTgt spid="1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8"/>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2" presetClass="entr" presetSubtype="1"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anim calcmode="lin" valueType="num">
                                      <p:cBhvr additive="base">
                                        <p:cTn id="59" dur="500" fill="hold"/>
                                        <p:tgtEl>
                                          <p:spTgt spid="23"/>
                                        </p:tgtEl>
                                        <p:attrNameLst>
                                          <p:attrName>ppt_x</p:attrName>
                                        </p:attrNameLst>
                                      </p:cBhvr>
                                      <p:tavLst>
                                        <p:tav tm="0">
                                          <p:val>
                                            <p:strVal val="#ppt_x"/>
                                          </p:val>
                                        </p:tav>
                                        <p:tav tm="100000">
                                          <p:val>
                                            <p:strVal val="#ppt_x"/>
                                          </p:val>
                                        </p:tav>
                                      </p:tavLst>
                                    </p:anim>
                                    <p:anim calcmode="lin" valueType="num">
                                      <p:cBhvr additive="base">
                                        <p:cTn id="60" dur="500" fill="hold"/>
                                        <p:tgtEl>
                                          <p:spTgt spid="23"/>
                                        </p:tgtEl>
                                        <p:attrNameLst>
                                          <p:attrName>ppt_y</p:attrName>
                                        </p:attrNameLst>
                                      </p:cBhvr>
                                      <p:tavLst>
                                        <p:tav tm="0">
                                          <p:val>
                                            <p:strVal val="0-#ppt_h/2"/>
                                          </p:val>
                                        </p:tav>
                                        <p:tav tm="100000">
                                          <p:val>
                                            <p:strVal val="#ppt_y"/>
                                          </p:val>
                                        </p:tav>
                                      </p:tavLst>
                                    </p:anim>
                                  </p:childTnLst>
                                </p:cTn>
                              </p:par>
                              <p:par>
                                <p:cTn id="61" presetID="2" presetClass="entr" presetSubtype="1"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 calcmode="lin" valueType="num">
                                      <p:cBhvr additive="base">
                                        <p:cTn id="63" dur="500" fill="hold"/>
                                        <p:tgtEl>
                                          <p:spTgt spid="19"/>
                                        </p:tgtEl>
                                        <p:attrNameLst>
                                          <p:attrName>ppt_x</p:attrName>
                                        </p:attrNameLst>
                                      </p:cBhvr>
                                      <p:tavLst>
                                        <p:tav tm="0">
                                          <p:val>
                                            <p:strVal val="#ppt_x"/>
                                          </p:val>
                                        </p:tav>
                                        <p:tav tm="100000">
                                          <p:val>
                                            <p:strVal val="#ppt_x"/>
                                          </p:val>
                                        </p:tav>
                                      </p:tavLst>
                                    </p:anim>
                                    <p:anim calcmode="lin" valueType="num">
                                      <p:cBhvr additive="base">
                                        <p:cTn id="64"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2" fill="hold" grpId="0" nodeType="clickEffect">
                                  <p:stCondLst>
                                    <p:cond delay="0"/>
                                  </p:stCondLst>
                                  <p:childTnLst>
                                    <p:set>
                                      <p:cBhvr>
                                        <p:cTn id="68" dur="1" fill="hold">
                                          <p:stCondLst>
                                            <p:cond delay="0"/>
                                          </p:stCondLst>
                                        </p:cTn>
                                        <p:tgtEl>
                                          <p:spTgt spid="15"/>
                                        </p:tgtEl>
                                        <p:attrNameLst>
                                          <p:attrName>style.visibility</p:attrName>
                                        </p:attrNameLst>
                                      </p:cBhvr>
                                      <p:to>
                                        <p:strVal val="visible"/>
                                      </p:to>
                                    </p:set>
                                    <p:anim calcmode="lin" valueType="num">
                                      <p:cBhvr additive="base">
                                        <p:cTn id="69" dur="500" fill="hold"/>
                                        <p:tgtEl>
                                          <p:spTgt spid="15"/>
                                        </p:tgtEl>
                                        <p:attrNameLst>
                                          <p:attrName>ppt_x</p:attrName>
                                        </p:attrNameLst>
                                      </p:cBhvr>
                                      <p:tavLst>
                                        <p:tav tm="0">
                                          <p:val>
                                            <p:strVal val="1+#ppt_w/2"/>
                                          </p:val>
                                        </p:tav>
                                        <p:tav tm="100000">
                                          <p:val>
                                            <p:strVal val="#ppt_x"/>
                                          </p:val>
                                        </p:tav>
                                      </p:tavLst>
                                    </p:anim>
                                    <p:anim calcmode="lin" valueType="num">
                                      <p:cBhvr additive="base">
                                        <p:cTn id="70"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2" fill="hold" grpId="0" nodeType="clickEffect">
                                  <p:stCondLst>
                                    <p:cond delay="0"/>
                                  </p:stCondLst>
                                  <p:childTnLst>
                                    <p:set>
                                      <p:cBhvr>
                                        <p:cTn id="74" dur="1" fill="hold">
                                          <p:stCondLst>
                                            <p:cond delay="0"/>
                                          </p:stCondLst>
                                        </p:cTn>
                                        <p:tgtEl>
                                          <p:spTgt spid="11"/>
                                        </p:tgtEl>
                                        <p:attrNameLst>
                                          <p:attrName>style.visibility</p:attrName>
                                        </p:attrNameLst>
                                      </p:cBhvr>
                                      <p:to>
                                        <p:strVal val="visible"/>
                                      </p:to>
                                    </p:set>
                                    <p:anim calcmode="lin" valueType="num">
                                      <p:cBhvr additive="base">
                                        <p:cTn id="75" dur="500" fill="hold"/>
                                        <p:tgtEl>
                                          <p:spTgt spid="11"/>
                                        </p:tgtEl>
                                        <p:attrNameLst>
                                          <p:attrName>ppt_x</p:attrName>
                                        </p:attrNameLst>
                                      </p:cBhvr>
                                      <p:tavLst>
                                        <p:tav tm="0">
                                          <p:val>
                                            <p:strVal val="1+#ppt_w/2"/>
                                          </p:val>
                                        </p:tav>
                                        <p:tav tm="100000">
                                          <p:val>
                                            <p:strVal val="#ppt_x"/>
                                          </p:val>
                                        </p:tav>
                                      </p:tavLst>
                                    </p:anim>
                                    <p:anim calcmode="lin" valueType="num">
                                      <p:cBhvr additive="base">
                                        <p:cTn id="76" dur="500" fill="hold"/>
                                        <p:tgtEl>
                                          <p:spTgt spid="11"/>
                                        </p:tgtEl>
                                        <p:attrNameLst>
                                          <p:attrName>ppt_y</p:attrName>
                                        </p:attrNameLst>
                                      </p:cBhvr>
                                      <p:tavLst>
                                        <p:tav tm="0">
                                          <p:val>
                                            <p:strVal val="#ppt_y"/>
                                          </p:val>
                                        </p:tav>
                                        <p:tav tm="100000">
                                          <p:val>
                                            <p:strVal val="#ppt_y"/>
                                          </p:val>
                                        </p:tav>
                                      </p:tavLst>
                                    </p:anim>
                                  </p:childTnLst>
                                </p:cTn>
                              </p:par>
                              <p:par>
                                <p:cTn id="77" presetID="1" presetClass="exit" presetSubtype="0" fill="hold" grpId="1" nodeType="withEffect">
                                  <p:stCondLst>
                                    <p:cond delay="0"/>
                                  </p:stCondLst>
                                  <p:childTnLst>
                                    <p:set>
                                      <p:cBhvr>
                                        <p:cTn id="78" dur="1" fill="hold">
                                          <p:stCondLst>
                                            <p:cond delay="0"/>
                                          </p:stCondLst>
                                        </p:cTn>
                                        <p:tgtEl>
                                          <p:spTgt spid="23"/>
                                        </p:tgtEl>
                                        <p:attrNameLst>
                                          <p:attrName>style.visibility</p:attrName>
                                        </p:attrNameLst>
                                      </p:cBhvr>
                                      <p:to>
                                        <p:strVal val="hidden"/>
                                      </p:to>
                                    </p:set>
                                  </p:childTnLst>
                                </p:cTn>
                              </p:par>
                              <p:par>
                                <p:cTn id="79" presetID="1" presetClass="exit" presetSubtype="0" fill="hold" grpId="1"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childTnLst>
                          </p:cTn>
                        </p:par>
                      </p:childTnLst>
                    </p:cTn>
                  </p:par>
                  <p:par>
                    <p:cTn id="81" fill="hold">
                      <p:stCondLst>
                        <p:cond delay="indefinite"/>
                      </p:stCondLst>
                      <p:childTnLst>
                        <p:par>
                          <p:cTn id="82" fill="hold">
                            <p:stCondLst>
                              <p:cond delay="0"/>
                            </p:stCondLst>
                            <p:childTnLst>
                              <p:par>
                                <p:cTn id="83" presetID="2" presetClass="entr" presetSubtype="1"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additive="base">
                                        <p:cTn id="85" dur="500" fill="hold"/>
                                        <p:tgtEl>
                                          <p:spTgt spid="24"/>
                                        </p:tgtEl>
                                        <p:attrNameLst>
                                          <p:attrName>ppt_x</p:attrName>
                                        </p:attrNameLst>
                                      </p:cBhvr>
                                      <p:tavLst>
                                        <p:tav tm="0">
                                          <p:val>
                                            <p:strVal val="#ppt_x"/>
                                          </p:val>
                                        </p:tav>
                                        <p:tav tm="100000">
                                          <p:val>
                                            <p:strVal val="#ppt_x"/>
                                          </p:val>
                                        </p:tav>
                                      </p:tavLst>
                                    </p:anim>
                                    <p:anim calcmode="lin" valueType="num">
                                      <p:cBhvr additive="base">
                                        <p:cTn id="86" dur="500" fill="hold"/>
                                        <p:tgtEl>
                                          <p:spTgt spid="24"/>
                                        </p:tgtEl>
                                        <p:attrNameLst>
                                          <p:attrName>ppt_y</p:attrName>
                                        </p:attrNameLst>
                                      </p:cBhvr>
                                      <p:tavLst>
                                        <p:tav tm="0">
                                          <p:val>
                                            <p:strVal val="0-#ppt_h/2"/>
                                          </p:val>
                                        </p:tav>
                                        <p:tav tm="100000">
                                          <p:val>
                                            <p:strVal val="#ppt_y"/>
                                          </p:val>
                                        </p:tav>
                                      </p:tavLst>
                                    </p:anim>
                                  </p:childTnLst>
                                </p:cTn>
                              </p:par>
                              <p:par>
                                <p:cTn id="87" presetID="2" presetClass="entr" presetSubtype="1" fill="hold" grpId="0" nodeType="withEffect">
                                  <p:stCondLst>
                                    <p:cond delay="0"/>
                                  </p:stCondLst>
                                  <p:childTnLst>
                                    <p:set>
                                      <p:cBhvr>
                                        <p:cTn id="88" dur="1" fill="hold">
                                          <p:stCondLst>
                                            <p:cond delay="0"/>
                                          </p:stCondLst>
                                        </p:cTn>
                                        <p:tgtEl>
                                          <p:spTgt spid="20"/>
                                        </p:tgtEl>
                                        <p:attrNameLst>
                                          <p:attrName>style.visibility</p:attrName>
                                        </p:attrNameLst>
                                      </p:cBhvr>
                                      <p:to>
                                        <p:strVal val="visible"/>
                                      </p:to>
                                    </p:set>
                                    <p:anim calcmode="lin" valueType="num">
                                      <p:cBhvr additive="base">
                                        <p:cTn id="89" dur="500" fill="hold"/>
                                        <p:tgtEl>
                                          <p:spTgt spid="20"/>
                                        </p:tgtEl>
                                        <p:attrNameLst>
                                          <p:attrName>ppt_x</p:attrName>
                                        </p:attrNameLst>
                                      </p:cBhvr>
                                      <p:tavLst>
                                        <p:tav tm="0">
                                          <p:val>
                                            <p:strVal val="#ppt_x"/>
                                          </p:val>
                                        </p:tav>
                                        <p:tav tm="100000">
                                          <p:val>
                                            <p:strVal val="#ppt_x"/>
                                          </p:val>
                                        </p:tav>
                                      </p:tavLst>
                                    </p:anim>
                                    <p:anim calcmode="lin" valueType="num">
                                      <p:cBhvr additive="base">
                                        <p:cTn id="90" dur="500" fill="hold"/>
                                        <p:tgtEl>
                                          <p:spTgt spid="20"/>
                                        </p:tgtEl>
                                        <p:attrNameLst>
                                          <p:attrName>ppt_y</p:attrName>
                                        </p:attrNameLst>
                                      </p:cBhvr>
                                      <p:tavLst>
                                        <p:tav tm="0">
                                          <p:val>
                                            <p:strVal val="0-#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2" fill="hold" grpId="0" nodeType="clickEffect">
                                  <p:stCondLst>
                                    <p:cond delay="0"/>
                                  </p:stCondLst>
                                  <p:childTnLst>
                                    <p:set>
                                      <p:cBhvr>
                                        <p:cTn id="94" dur="1" fill="hold">
                                          <p:stCondLst>
                                            <p:cond delay="0"/>
                                          </p:stCondLst>
                                        </p:cTn>
                                        <p:tgtEl>
                                          <p:spTgt spid="16"/>
                                        </p:tgtEl>
                                        <p:attrNameLst>
                                          <p:attrName>style.visibility</p:attrName>
                                        </p:attrNameLst>
                                      </p:cBhvr>
                                      <p:to>
                                        <p:strVal val="visible"/>
                                      </p:to>
                                    </p:set>
                                    <p:anim calcmode="lin" valueType="num">
                                      <p:cBhvr additive="base">
                                        <p:cTn id="95" dur="500" fill="hold"/>
                                        <p:tgtEl>
                                          <p:spTgt spid="16"/>
                                        </p:tgtEl>
                                        <p:attrNameLst>
                                          <p:attrName>ppt_x</p:attrName>
                                        </p:attrNameLst>
                                      </p:cBhvr>
                                      <p:tavLst>
                                        <p:tav tm="0">
                                          <p:val>
                                            <p:strVal val="1+#ppt_w/2"/>
                                          </p:val>
                                        </p:tav>
                                        <p:tav tm="100000">
                                          <p:val>
                                            <p:strVal val="#ppt_x"/>
                                          </p:val>
                                        </p:tav>
                                      </p:tavLst>
                                    </p:anim>
                                    <p:anim calcmode="lin" valueType="num">
                                      <p:cBhvr additive="base">
                                        <p:cTn id="96"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2" fill="hold" grpId="0" nodeType="click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500" fill="hold"/>
                                        <p:tgtEl>
                                          <p:spTgt spid="12"/>
                                        </p:tgtEl>
                                        <p:attrNameLst>
                                          <p:attrName>ppt_x</p:attrName>
                                        </p:attrNameLst>
                                      </p:cBhvr>
                                      <p:tavLst>
                                        <p:tav tm="0">
                                          <p:val>
                                            <p:strVal val="1+#ppt_w/2"/>
                                          </p:val>
                                        </p:tav>
                                        <p:tav tm="100000">
                                          <p:val>
                                            <p:strVal val="#ppt_x"/>
                                          </p:val>
                                        </p:tav>
                                      </p:tavLst>
                                    </p:anim>
                                    <p:anim calcmode="lin" valueType="num">
                                      <p:cBhvr additive="base">
                                        <p:cTn id="102" dur="500" fill="hold"/>
                                        <p:tgtEl>
                                          <p:spTgt spid="12"/>
                                        </p:tgtEl>
                                        <p:attrNameLst>
                                          <p:attrName>ppt_y</p:attrName>
                                        </p:attrNameLst>
                                      </p:cBhvr>
                                      <p:tavLst>
                                        <p:tav tm="0">
                                          <p:val>
                                            <p:strVal val="#ppt_y"/>
                                          </p:val>
                                        </p:tav>
                                        <p:tav tm="100000">
                                          <p:val>
                                            <p:strVal val="#ppt_y"/>
                                          </p:val>
                                        </p:tav>
                                      </p:tavLst>
                                    </p:anim>
                                  </p:childTnLst>
                                </p:cTn>
                              </p:par>
                              <p:par>
                                <p:cTn id="103" presetID="2" presetClass="entr" presetSubtype="2" fill="hold" grpId="0" nodeType="withEffect">
                                  <p:stCondLst>
                                    <p:cond delay="0"/>
                                  </p:stCondLst>
                                  <p:childTnLst>
                                    <p:set>
                                      <p:cBhvr>
                                        <p:cTn id="104" dur="1" fill="hold">
                                          <p:stCondLst>
                                            <p:cond delay="0"/>
                                          </p:stCondLst>
                                        </p:cTn>
                                        <p:tgtEl>
                                          <p:spTgt spid="14"/>
                                        </p:tgtEl>
                                        <p:attrNameLst>
                                          <p:attrName>style.visibility</p:attrName>
                                        </p:attrNameLst>
                                      </p:cBhvr>
                                      <p:to>
                                        <p:strVal val="visible"/>
                                      </p:to>
                                    </p:set>
                                    <p:anim calcmode="lin" valueType="num">
                                      <p:cBhvr additive="base">
                                        <p:cTn id="105" dur="500" fill="hold"/>
                                        <p:tgtEl>
                                          <p:spTgt spid="14"/>
                                        </p:tgtEl>
                                        <p:attrNameLst>
                                          <p:attrName>ppt_x</p:attrName>
                                        </p:attrNameLst>
                                      </p:cBhvr>
                                      <p:tavLst>
                                        <p:tav tm="0">
                                          <p:val>
                                            <p:strVal val="1+#ppt_w/2"/>
                                          </p:val>
                                        </p:tav>
                                        <p:tav tm="100000">
                                          <p:val>
                                            <p:strVal val="#ppt_x"/>
                                          </p:val>
                                        </p:tav>
                                      </p:tavLst>
                                    </p:anim>
                                    <p:anim calcmode="lin" valueType="num">
                                      <p:cBhvr additive="base">
                                        <p:cTn id="106"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107" fill="hold">
                      <p:stCondLst>
                        <p:cond delay="indefinite"/>
                      </p:stCondLst>
                      <p:childTnLst>
                        <p:par>
                          <p:cTn id="108" fill="hold">
                            <p:stCondLst>
                              <p:cond delay="0"/>
                            </p:stCondLst>
                            <p:childTnLst>
                              <p:par>
                                <p:cTn id="109" presetID="2" presetClass="entr" presetSubtype="2" fill="hold" nodeType="clickEffect">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cBhvr additive="base">
                                        <p:cTn id="111" dur="500" fill="hold"/>
                                        <p:tgtEl>
                                          <p:spTgt spid="21"/>
                                        </p:tgtEl>
                                        <p:attrNameLst>
                                          <p:attrName>ppt_x</p:attrName>
                                        </p:attrNameLst>
                                      </p:cBhvr>
                                      <p:tavLst>
                                        <p:tav tm="0">
                                          <p:val>
                                            <p:strVal val="1+#ppt_w/2"/>
                                          </p:val>
                                        </p:tav>
                                        <p:tav tm="100000">
                                          <p:val>
                                            <p:strVal val="#ppt_x"/>
                                          </p:val>
                                        </p:tav>
                                      </p:tavLst>
                                    </p:anim>
                                    <p:anim calcmode="lin" valueType="num">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 presetClass="entr" presetSubtype="2" fill="hold" grpId="0" nodeType="withEffect">
                                  <p:stCondLst>
                                    <p:cond delay="0"/>
                                  </p:stCondLst>
                                  <p:childTnLst>
                                    <p:set>
                                      <p:cBhvr>
                                        <p:cTn id="114" dur="1" fill="hold">
                                          <p:stCondLst>
                                            <p:cond delay="0"/>
                                          </p:stCondLst>
                                        </p:cTn>
                                        <p:tgtEl>
                                          <p:spTgt spid="22"/>
                                        </p:tgtEl>
                                        <p:attrNameLst>
                                          <p:attrName>style.visibility</p:attrName>
                                        </p:attrNameLst>
                                      </p:cBhvr>
                                      <p:to>
                                        <p:strVal val="visible"/>
                                      </p:to>
                                    </p:set>
                                    <p:anim calcmode="lin" valueType="num">
                                      <p:cBhvr additive="base">
                                        <p:cTn id="115" dur="500" fill="hold"/>
                                        <p:tgtEl>
                                          <p:spTgt spid="22"/>
                                        </p:tgtEl>
                                        <p:attrNameLst>
                                          <p:attrName>ppt_x</p:attrName>
                                        </p:attrNameLst>
                                      </p:cBhvr>
                                      <p:tavLst>
                                        <p:tav tm="0">
                                          <p:val>
                                            <p:strVal val="1+#ppt_w/2"/>
                                          </p:val>
                                        </p:tav>
                                        <p:tav tm="100000">
                                          <p:val>
                                            <p:strVal val="#ppt_x"/>
                                          </p:val>
                                        </p:tav>
                                      </p:tavLst>
                                    </p:anim>
                                    <p:anim calcmode="lin" valueType="num">
                                      <p:cBhvr additive="base">
                                        <p:cTn id="116" dur="500" fill="hold"/>
                                        <p:tgtEl>
                                          <p:spTgt spid="22"/>
                                        </p:tgtEl>
                                        <p:attrNameLst>
                                          <p:attrName>ppt_y</p:attrName>
                                        </p:attrNameLst>
                                      </p:cBhvr>
                                      <p:tavLst>
                                        <p:tav tm="0">
                                          <p:val>
                                            <p:strVal val="#ppt_y"/>
                                          </p:val>
                                        </p:tav>
                                        <p:tav tm="100000">
                                          <p:val>
                                            <p:strVal val="#ppt_y"/>
                                          </p:val>
                                        </p:tav>
                                      </p:tavLst>
                                    </p:anim>
                                  </p:childTnLst>
                                </p:cTn>
                              </p:par>
                              <p:par>
                                <p:cTn id="117" presetID="1" presetClass="exit" presetSubtype="0" fill="hold" grpId="1" nodeType="withEffect">
                                  <p:stCondLst>
                                    <p:cond delay="0"/>
                                  </p:stCondLst>
                                  <p:childTnLst>
                                    <p:set>
                                      <p:cBhvr>
                                        <p:cTn id="118" dur="1" fill="hold">
                                          <p:stCondLst>
                                            <p:cond delay="0"/>
                                          </p:stCondLst>
                                        </p:cTn>
                                        <p:tgtEl>
                                          <p:spTgt spid="24"/>
                                        </p:tgtEl>
                                        <p:attrNameLst>
                                          <p:attrName>style.visibility</p:attrName>
                                        </p:attrNameLst>
                                      </p:cBhvr>
                                      <p:to>
                                        <p:strVal val="hidden"/>
                                      </p:to>
                                    </p:set>
                                  </p:childTnLst>
                                </p:cTn>
                              </p:par>
                              <p:par>
                                <p:cTn id="119" presetID="1" presetClass="exit" presetSubtype="0" fill="hold" grpId="1" nodeType="withEffect">
                                  <p:stCondLst>
                                    <p:cond delay="0"/>
                                  </p:stCondLst>
                                  <p:childTnLst>
                                    <p:set>
                                      <p:cBhvr>
                                        <p:cTn id="120"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8" grpId="0"/>
      <p:bldP spid="9" grpId="0"/>
      <p:bldP spid="10" grpId="0"/>
      <p:bldP spid="11" grpId="0"/>
      <p:bldP spid="12" grpId="0"/>
      <p:bldP spid="13" grpId="0"/>
      <p:bldP spid="14" grpId="0"/>
      <p:bldP spid="15" grpId="0"/>
      <p:bldP spid="16" grpId="0"/>
      <p:bldP spid="17" grpId="0" animBg="1"/>
      <p:bldP spid="17" grpId="1" animBg="1"/>
      <p:bldP spid="18" grpId="0" animBg="1"/>
      <p:bldP spid="18" grpId="1" animBg="1"/>
      <p:bldP spid="19" grpId="0" animBg="1"/>
      <p:bldP spid="19" grpId="1" animBg="1"/>
      <p:bldP spid="20" grpId="0" animBg="1"/>
      <p:bldP spid="20" grpId="1" animBg="1"/>
      <p:bldP spid="22" grpId="0"/>
      <p:bldP spid="23" grpId="0" animBg="1"/>
      <p:bldP spid="23" grpId="1" animBg="1"/>
      <p:bldP spid="24" grpId="0" animBg="1"/>
      <p:bldP spid="24" grpId="1" animBg="1"/>
      <p:bldP spid="25" grpId="0" animBg="1"/>
      <p:bldP spid="25" grpId="1"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751D6-A0D5-48CB-8132-0BD0278E0AFB}"/>
              </a:ext>
            </a:extLst>
          </p:cNvPr>
          <p:cNvSpPr>
            <a:spLocks noGrp="1"/>
          </p:cNvSpPr>
          <p:nvPr>
            <p:ph type="title"/>
          </p:nvPr>
        </p:nvSpPr>
        <p:spPr/>
        <p:txBody>
          <a:bodyPr/>
          <a:lstStyle/>
          <a:p>
            <a:r>
              <a:rPr lang="en-US" dirty="0"/>
              <a:t>SQL Server object allocation</a:t>
            </a:r>
          </a:p>
        </p:txBody>
      </p:sp>
      <p:graphicFrame>
        <p:nvGraphicFramePr>
          <p:cNvPr id="5" name="Content Placeholder 4">
            <a:extLst>
              <a:ext uri="{FF2B5EF4-FFF2-40B4-BE49-F238E27FC236}">
                <a16:creationId xmlns:a16="http://schemas.microsoft.com/office/drawing/2014/main" id="{DBC46F64-1AA7-4968-9494-241F95F9231B}"/>
              </a:ext>
            </a:extLst>
          </p:cNvPr>
          <p:cNvGraphicFramePr>
            <a:graphicFrameLocks noGrp="1"/>
          </p:cNvGraphicFramePr>
          <p:nvPr>
            <p:ph sz="quarter" idx="13"/>
            <p:extLst>
              <p:ext uri="{D42A27DB-BD31-4B8C-83A1-F6EECF244321}">
                <p14:modId xmlns:p14="http://schemas.microsoft.com/office/powerpoint/2010/main" val="344940139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9723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78D2B-E078-4374-9A00-8BE599CDC800}"/>
              </a:ext>
            </a:extLst>
          </p:cNvPr>
          <p:cNvSpPr>
            <a:spLocks noGrp="1"/>
          </p:cNvSpPr>
          <p:nvPr>
            <p:ph type="title"/>
          </p:nvPr>
        </p:nvSpPr>
        <p:spPr/>
        <p:txBody>
          <a:bodyPr/>
          <a:lstStyle/>
          <a:p>
            <a:r>
              <a:rPr lang="en-US" dirty="0"/>
              <a:t>SQL Server object allocation (Trace Flag 1118)</a:t>
            </a:r>
          </a:p>
        </p:txBody>
      </p:sp>
      <p:graphicFrame>
        <p:nvGraphicFramePr>
          <p:cNvPr id="5" name="Content Placeholder 4">
            <a:extLst>
              <a:ext uri="{FF2B5EF4-FFF2-40B4-BE49-F238E27FC236}">
                <a16:creationId xmlns:a16="http://schemas.microsoft.com/office/drawing/2014/main" id="{951F87FE-A7DB-4594-9534-11EE3F5DEE97}"/>
              </a:ext>
            </a:extLst>
          </p:cNvPr>
          <p:cNvGraphicFramePr>
            <a:graphicFrameLocks noGrp="1"/>
          </p:cNvGraphicFramePr>
          <p:nvPr>
            <p:ph sz="quarter" idx="13"/>
            <p:extLst>
              <p:ext uri="{D42A27DB-BD31-4B8C-83A1-F6EECF244321}">
                <p14:modId xmlns:p14="http://schemas.microsoft.com/office/powerpoint/2010/main" val="1110099414"/>
              </p:ext>
            </p:extLst>
          </p:nvPr>
        </p:nvGraphicFramePr>
        <p:xfrm>
          <a:off x="655638" y="1408114"/>
          <a:ext cx="10880726" cy="4078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361562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1: SQL Server Page Structure</a:t>
            </a:r>
            <a:endParaRPr lang="en-US" dirty="0"/>
          </a:p>
        </p:txBody>
      </p:sp>
    </p:spTree>
    <p:extLst>
      <p:ext uri="{BB962C8B-B14F-4D97-AF65-F5344CB8AC3E}">
        <p14:creationId xmlns:p14="http://schemas.microsoft.com/office/powerpoint/2010/main" val="16117427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A92A9-B175-485F-8685-C452F3711619}"/>
              </a:ext>
            </a:extLst>
          </p:cNvPr>
          <p:cNvSpPr>
            <a:spLocks noGrp="1"/>
          </p:cNvSpPr>
          <p:nvPr>
            <p:ph type="title"/>
          </p:nvPr>
        </p:nvSpPr>
        <p:spPr/>
        <p:txBody>
          <a:bodyPr/>
          <a:lstStyle/>
          <a:p>
            <a:r>
              <a:rPr lang="en-US" dirty="0"/>
              <a:t>Tying it all together</a:t>
            </a:r>
          </a:p>
        </p:txBody>
      </p:sp>
      <p:grpSp>
        <p:nvGrpSpPr>
          <p:cNvPr id="29" name="Group 28">
            <a:extLst>
              <a:ext uri="{FF2B5EF4-FFF2-40B4-BE49-F238E27FC236}">
                <a16:creationId xmlns:a16="http://schemas.microsoft.com/office/drawing/2014/main" id="{42989DF0-FAE2-4C8B-A193-D4B9EA0C9E3E}"/>
              </a:ext>
            </a:extLst>
          </p:cNvPr>
          <p:cNvGrpSpPr/>
          <p:nvPr/>
        </p:nvGrpSpPr>
        <p:grpSpPr>
          <a:xfrm>
            <a:off x="456210" y="1288795"/>
            <a:ext cx="10395322" cy="5249165"/>
            <a:chOff x="883640" y="1439550"/>
            <a:chExt cx="10395322" cy="5249165"/>
          </a:xfrm>
        </p:grpSpPr>
        <p:sp>
          <p:nvSpPr>
            <p:cNvPr id="5" name="Rectangle 4">
              <a:extLst>
                <a:ext uri="{FF2B5EF4-FFF2-40B4-BE49-F238E27FC236}">
                  <a16:creationId xmlns:a16="http://schemas.microsoft.com/office/drawing/2014/main" id="{3CB5B914-3015-484B-ACBD-760ED964BB0F}"/>
                </a:ext>
              </a:extLst>
            </p:cNvPr>
            <p:cNvSpPr/>
            <p:nvPr/>
          </p:nvSpPr>
          <p:spPr>
            <a:xfrm>
              <a:off x="883640" y="1439550"/>
              <a:ext cx="1651000" cy="1029587"/>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Calculate the Record Size</a:t>
              </a:r>
            </a:p>
          </p:txBody>
        </p:sp>
        <p:sp>
          <p:nvSpPr>
            <p:cNvPr id="6" name="Rectangle 5">
              <a:extLst>
                <a:ext uri="{FF2B5EF4-FFF2-40B4-BE49-F238E27FC236}">
                  <a16:creationId xmlns:a16="http://schemas.microsoft.com/office/drawing/2014/main" id="{FF34C0F2-9F38-44DB-8CB6-74AADAC0EF1D}"/>
                </a:ext>
              </a:extLst>
            </p:cNvPr>
            <p:cNvSpPr/>
            <p:nvPr/>
          </p:nvSpPr>
          <p:spPr>
            <a:xfrm>
              <a:off x="3329510"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Check if Table has pages (IAM Page)</a:t>
              </a:r>
            </a:p>
          </p:txBody>
        </p:sp>
        <p:sp>
          <p:nvSpPr>
            <p:cNvPr id="7" name="TextBox 6">
              <a:extLst>
                <a:ext uri="{FF2B5EF4-FFF2-40B4-BE49-F238E27FC236}">
                  <a16:creationId xmlns:a16="http://schemas.microsoft.com/office/drawing/2014/main" id="{4EFC8324-1291-4FAF-AB9C-6748FE847A62}"/>
                </a:ext>
              </a:extLst>
            </p:cNvPr>
            <p:cNvSpPr txBox="1"/>
            <p:nvPr/>
          </p:nvSpPr>
          <p:spPr>
            <a:xfrm>
              <a:off x="5506914" y="1483947"/>
              <a:ext cx="54053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8" name="TextBox 7">
              <a:extLst>
                <a:ext uri="{FF2B5EF4-FFF2-40B4-BE49-F238E27FC236}">
                  <a16:creationId xmlns:a16="http://schemas.microsoft.com/office/drawing/2014/main" id="{DF54302E-71CE-4D64-9074-C59BA760A62A}"/>
                </a:ext>
              </a:extLst>
            </p:cNvPr>
            <p:cNvSpPr txBox="1"/>
            <p:nvPr/>
          </p:nvSpPr>
          <p:spPr>
            <a:xfrm>
              <a:off x="3039263" y="2815279"/>
              <a:ext cx="542136"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sp>
          <p:nvSpPr>
            <p:cNvPr id="9" name="Rectangle 8">
              <a:extLst>
                <a:ext uri="{FF2B5EF4-FFF2-40B4-BE49-F238E27FC236}">
                  <a16:creationId xmlns:a16="http://schemas.microsoft.com/office/drawing/2014/main" id="{E5058D62-FB17-4694-A1C6-B36D45FDD0C8}"/>
                </a:ext>
              </a:extLst>
            </p:cNvPr>
            <p:cNvSpPr/>
            <p:nvPr/>
          </p:nvSpPr>
          <p:spPr>
            <a:xfrm>
              <a:off x="6249762"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Do these pages have unallocated space (PFS Page)</a:t>
              </a:r>
            </a:p>
          </p:txBody>
        </p:sp>
        <p:sp>
          <p:nvSpPr>
            <p:cNvPr id="10" name="TextBox 9">
              <a:extLst>
                <a:ext uri="{FF2B5EF4-FFF2-40B4-BE49-F238E27FC236}">
                  <a16:creationId xmlns:a16="http://schemas.microsoft.com/office/drawing/2014/main" id="{E2482903-3BBA-420C-B198-15D84081C464}"/>
                </a:ext>
              </a:extLst>
            </p:cNvPr>
            <p:cNvSpPr txBox="1"/>
            <p:nvPr/>
          </p:nvSpPr>
          <p:spPr>
            <a:xfrm>
              <a:off x="8443909" y="1483947"/>
              <a:ext cx="577402" cy="369332"/>
            </a:xfrm>
            <a:prstGeom prst="rect">
              <a:avLst/>
            </a:prstGeom>
            <a:noFill/>
          </p:spPr>
          <p:txBody>
            <a:bodyPr wrap="squar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11" name="Rectangle 10">
              <a:extLst>
                <a:ext uri="{FF2B5EF4-FFF2-40B4-BE49-F238E27FC236}">
                  <a16:creationId xmlns:a16="http://schemas.microsoft.com/office/drawing/2014/main" id="{B12C833F-B396-447C-ADF5-8EC267733730}"/>
                </a:ext>
              </a:extLst>
            </p:cNvPr>
            <p:cNvSpPr/>
            <p:nvPr/>
          </p:nvSpPr>
          <p:spPr>
            <a:xfrm>
              <a:off x="9170762"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Insert record Update the PFS Page</a:t>
              </a:r>
            </a:p>
          </p:txBody>
        </p:sp>
        <p:sp>
          <p:nvSpPr>
            <p:cNvPr id="12" name="Rectangle 11">
              <a:extLst>
                <a:ext uri="{FF2B5EF4-FFF2-40B4-BE49-F238E27FC236}">
                  <a16:creationId xmlns:a16="http://schemas.microsoft.com/office/drawing/2014/main" id="{10E11364-C040-45CD-9E17-3F55CC393258}"/>
                </a:ext>
              </a:extLst>
            </p:cNvPr>
            <p:cNvSpPr/>
            <p:nvPr/>
          </p:nvSpPr>
          <p:spPr>
            <a:xfrm>
              <a:off x="4126400" y="2817935"/>
              <a:ext cx="2151589" cy="966839"/>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New Page</a:t>
              </a:r>
            </a:p>
          </p:txBody>
        </p:sp>
        <p:sp>
          <p:nvSpPr>
            <p:cNvPr id="13" name="Rectangle 12">
              <a:extLst>
                <a:ext uri="{FF2B5EF4-FFF2-40B4-BE49-F238E27FC236}">
                  <a16:creationId xmlns:a16="http://schemas.microsoft.com/office/drawing/2014/main" id="{82D72875-7182-4238-9EDA-317BF9B8B222}"/>
                </a:ext>
              </a:extLst>
            </p:cNvPr>
            <p:cNvSpPr/>
            <p:nvPr/>
          </p:nvSpPr>
          <p:spPr>
            <a:xfrm>
              <a:off x="4101127" y="5019286"/>
              <a:ext cx="2151589" cy="966839"/>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Is TF 1118 Enabled?</a:t>
              </a:r>
            </a:p>
            <a:p>
              <a:pPr algn="ctr" defTabSz="914400">
                <a:defRPr/>
              </a:pPr>
              <a:r>
                <a:rPr lang="en-US" kern="0" dirty="0">
                  <a:solidFill>
                    <a:srgbClr val="000000"/>
                  </a:solidFill>
                  <a:latin typeface="Segoe UI Light" panose="020B0502040204020203" pitchFamily="34" charset="0"/>
                </a:rPr>
                <a:t>More than 8 Pages?</a:t>
              </a:r>
            </a:p>
            <a:p>
              <a:pPr algn="ctr" defTabSz="914400">
                <a:defRPr/>
              </a:pPr>
              <a:r>
                <a:rPr lang="en-US" kern="0" dirty="0">
                  <a:solidFill>
                    <a:srgbClr val="000000"/>
                  </a:solidFill>
                  <a:latin typeface="Segoe UI Light" panose="020B0502040204020203" pitchFamily="34" charset="0"/>
                </a:rPr>
                <a:t>SQL Server&gt;=13.X ?</a:t>
              </a:r>
            </a:p>
          </p:txBody>
        </p:sp>
        <p:sp>
          <p:nvSpPr>
            <p:cNvPr id="14" name="Rectangle 13">
              <a:extLst>
                <a:ext uri="{FF2B5EF4-FFF2-40B4-BE49-F238E27FC236}">
                  <a16:creationId xmlns:a16="http://schemas.microsoft.com/office/drawing/2014/main" id="{2F72227D-9C23-480A-A002-BCE3E33AAA46}"/>
                </a:ext>
              </a:extLst>
            </p:cNvPr>
            <p:cNvSpPr/>
            <p:nvPr/>
          </p:nvSpPr>
          <p:spPr>
            <a:xfrm>
              <a:off x="8034652" y="3962400"/>
              <a:ext cx="3114483" cy="1119774"/>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a page from Mixed Extent (SGAM)</a:t>
              </a:r>
            </a:p>
            <a:p>
              <a:pPr algn="ctr" defTabSz="914400">
                <a:defRPr/>
              </a:pPr>
              <a:r>
                <a:rPr lang="en-US" kern="0" dirty="0">
                  <a:solidFill>
                    <a:srgbClr val="000000"/>
                  </a:solidFill>
                  <a:latin typeface="Segoe UI Light" panose="020B0502040204020203" pitchFamily="34" charset="0"/>
                </a:rPr>
                <a:t>Update the allocation objects</a:t>
              </a:r>
            </a:p>
          </p:txBody>
        </p:sp>
        <p:sp>
          <p:nvSpPr>
            <p:cNvPr id="15" name="Rectangle 14">
              <a:extLst>
                <a:ext uri="{FF2B5EF4-FFF2-40B4-BE49-F238E27FC236}">
                  <a16:creationId xmlns:a16="http://schemas.microsoft.com/office/drawing/2014/main" id="{372B8850-522E-44C1-8333-629503D60242}"/>
                </a:ext>
              </a:extLst>
            </p:cNvPr>
            <p:cNvSpPr/>
            <p:nvPr/>
          </p:nvSpPr>
          <p:spPr>
            <a:xfrm>
              <a:off x="8024058" y="5649411"/>
              <a:ext cx="3098065" cy="1039304"/>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a Uniform Extent (GAM)</a:t>
              </a:r>
            </a:p>
            <a:p>
              <a:pPr algn="ctr" defTabSz="914400">
                <a:defRPr/>
              </a:pPr>
              <a:r>
                <a:rPr lang="en-US" kern="0" dirty="0">
                  <a:solidFill>
                    <a:srgbClr val="000000"/>
                  </a:solidFill>
                  <a:latin typeface="Segoe UI Light" panose="020B0502040204020203" pitchFamily="34" charset="0"/>
                </a:rPr>
                <a:t>Update the allocation objects.</a:t>
              </a:r>
            </a:p>
          </p:txBody>
        </p:sp>
        <p:sp>
          <p:nvSpPr>
            <p:cNvPr id="16" name="TextBox 15">
              <a:extLst>
                <a:ext uri="{FF2B5EF4-FFF2-40B4-BE49-F238E27FC236}">
                  <a16:creationId xmlns:a16="http://schemas.microsoft.com/office/drawing/2014/main" id="{684C04E9-90C9-4A11-80EF-74601E509AC9}"/>
                </a:ext>
              </a:extLst>
            </p:cNvPr>
            <p:cNvSpPr txBox="1"/>
            <p:nvPr/>
          </p:nvSpPr>
          <p:spPr>
            <a:xfrm>
              <a:off x="6261213" y="5742390"/>
              <a:ext cx="54053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17" name="TextBox 16">
              <a:extLst>
                <a:ext uri="{FF2B5EF4-FFF2-40B4-BE49-F238E27FC236}">
                  <a16:creationId xmlns:a16="http://schemas.microsoft.com/office/drawing/2014/main" id="{0D122531-2C10-4262-A724-DC3337F7CD8F}"/>
                </a:ext>
              </a:extLst>
            </p:cNvPr>
            <p:cNvSpPr txBox="1"/>
            <p:nvPr/>
          </p:nvSpPr>
          <p:spPr>
            <a:xfrm>
              <a:off x="6419410" y="4876800"/>
              <a:ext cx="52450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cxnSp>
          <p:nvCxnSpPr>
            <p:cNvPr id="18" name="Elbow Connector 44">
              <a:extLst>
                <a:ext uri="{FF2B5EF4-FFF2-40B4-BE49-F238E27FC236}">
                  <a16:creationId xmlns:a16="http://schemas.microsoft.com/office/drawing/2014/main" id="{E7DCFDE6-29FE-4FC9-B704-61846DC67762}"/>
                </a:ext>
              </a:extLst>
            </p:cNvPr>
            <p:cNvCxnSpPr/>
            <p:nvPr/>
          </p:nvCxnSpPr>
          <p:spPr>
            <a:xfrm rot="16200000" flipH="1">
              <a:off x="3467503" y="2559439"/>
              <a:ext cx="830865" cy="545000"/>
            </a:xfrm>
            <a:prstGeom prst="bentConnector2">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9" name="Elbow Connector 45">
              <a:extLst>
                <a:ext uri="{FF2B5EF4-FFF2-40B4-BE49-F238E27FC236}">
                  <a16:creationId xmlns:a16="http://schemas.microsoft.com/office/drawing/2014/main" id="{264FEA76-9EB6-4BE5-BDCF-220C1CE3667D}"/>
                </a:ext>
              </a:extLst>
            </p:cNvPr>
            <p:cNvCxnSpPr>
              <a:endCxn id="12" idx="3"/>
            </p:cNvCxnSpPr>
            <p:nvPr/>
          </p:nvCxnSpPr>
          <p:spPr>
            <a:xfrm rot="10800000" flipV="1">
              <a:off x="6277989" y="2448277"/>
              <a:ext cx="1176132" cy="853078"/>
            </a:xfrm>
            <a:prstGeom prst="bentConnector3">
              <a:avLst>
                <a:gd name="adj1" fmla="val 96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0" name="Elbow Connector 46">
              <a:extLst>
                <a:ext uri="{FF2B5EF4-FFF2-40B4-BE49-F238E27FC236}">
                  <a16:creationId xmlns:a16="http://schemas.microsoft.com/office/drawing/2014/main" id="{F517FCC7-1498-4B4D-A287-9D7020DB32CB}"/>
                </a:ext>
              </a:extLst>
            </p:cNvPr>
            <p:cNvCxnSpPr>
              <a:endCxn id="14" idx="1"/>
            </p:cNvCxnSpPr>
            <p:nvPr/>
          </p:nvCxnSpPr>
          <p:spPr>
            <a:xfrm flipV="1">
              <a:off x="6242259" y="4522287"/>
              <a:ext cx="1792393" cy="788090"/>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1" name="Elbow Connector 47">
              <a:extLst>
                <a:ext uri="{FF2B5EF4-FFF2-40B4-BE49-F238E27FC236}">
                  <a16:creationId xmlns:a16="http://schemas.microsoft.com/office/drawing/2014/main" id="{A1C0782F-5675-4389-8D6D-8E1730DC546F}"/>
                </a:ext>
              </a:extLst>
            </p:cNvPr>
            <p:cNvCxnSpPr>
              <a:endCxn id="15" idx="1"/>
            </p:cNvCxnSpPr>
            <p:nvPr/>
          </p:nvCxnSpPr>
          <p:spPr>
            <a:xfrm>
              <a:off x="6252716" y="5559636"/>
              <a:ext cx="1771342" cy="609427"/>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2" name="Elbow Connector 44">
              <a:extLst>
                <a:ext uri="{FF2B5EF4-FFF2-40B4-BE49-F238E27FC236}">
                  <a16:creationId xmlns:a16="http://schemas.microsoft.com/office/drawing/2014/main" id="{005B7A68-0522-453A-A4F7-024C23065906}"/>
                </a:ext>
              </a:extLst>
            </p:cNvPr>
            <p:cNvCxnSpPr>
              <a:stCxn id="5" idx="3"/>
              <a:endCxn id="6" idx="1"/>
            </p:cNvCxnSpPr>
            <p:nvPr/>
          </p:nvCxnSpPr>
          <p:spPr>
            <a:xfrm>
              <a:off x="2534640" y="1954344"/>
              <a:ext cx="79487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3" name="Elbow Connector 47">
              <a:extLst>
                <a:ext uri="{FF2B5EF4-FFF2-40B4-BE49-F238E27FC236}">
                  <a16:creationId xmlns:a16="http://schemas.microsoft.com/office/drawing/2014/main" id="{1E417F6F-B514-4D3E-A550-6C6B36B18CEC}"/>
                </a:ext>
              </a:extLst>
            </p:cNvPr>
            <p:cNvCxnSpPr>
              <a:stCxn id="6" idx="3"/>
              <a:endCxn id="9" idx="1"/>
            </p:cNvCxnSpPr>
            <p:nvPr/>
          </p:nvCxnSpPr>
          <p:spPr>
            <a:xfrm>
              <a:off x="5437710" y="1954344"/>
              <a:ext cx="812052"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4" name="Elbow Connector 47">
              <a:extLst>
                <a:ext uri="{FF2B5EF4-FFF2-40B4-BE49-F238E27FC236}">
                  <a16:creationId xmlns:a16="http://schemas.microsoft.com/office/drawing/2014/main" id="{C9273110-0C74-49BE-A442-080A57E315F5}"/>
                </a:ext>
              </a:extLst>
            </p:cNvPr>
            <p:cNvCxnSpPr>
              <a:stCxn id="9" idx="3"/>
              <a:endCxn id="11" idx="1"/>
            </p:cNvCxnSpPr>
            <p:nvPr/>
          </p:nvCxnSpPr>
          <p:spPr>
            <a:xfrm>
              <a:off x="8357962" y="1954344"/>
              <a:ext cx="8128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5" name="Elbow Connector 51">
              <a:extLst>
                <a:ext uri="{FF2B5EF4-FFF2-40B4-BE49-F238E27FC236}">
                  <a16:creationId xmlns:a16="http://schemas.microsoft.com/office/drawing/2014/main" id="{A195E8FC-03B1-4231-9E96-BE6B4F48E359}"/>
                </a:ext>
              </a:extLst>
            </p:cNvPr>
            <p:cNvCxnSpPr>
              <a:stCxn id="12" idx="2"/>
            </p:cNvCxnSpPr>
            <p:nvPr/>
          </p:nvCxnSpPr>
          <p:spPr>
            <a:xfrm rot="16200000" flipH="1">
              <a:off x="4553495" y="4433473"/>
              <a:ext cx="1297401" cy="1"/>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26" name="TextBox 25">
              <a:extLst>
                <a:ext uri="{FF2B5EF4-FFF2-40B4-BE49-F238E27FC236}">
                  <a16:creationId xmlns:a16="http://schemas.microsoft.com/office/drawing/2014/main" id="{E9378F33-8BDC-450C-8825-7815AD777584}"/>
                </a:ext>
              </a:extLst>
            </p:cNvPr>
            <p:cNvSpPr txBox="1"/>
            <p:nvPr/>
          </p:nvSpPr>
          <p:spPr>
            <a:xfrm>
              <a:off x="7553944" y="2814281"/>
              <a:ext cx="542136"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cxnSp>
          <p:nvCxnSpPr>
            <p:cNvPr id="27" name="Elbow Connector 53">
              <a:extLst>
                <a:ext uri="{FF2B5EF4-FFF2-40B4-BE49-F238E27FC236}">
                  <a16:creationId xmlns:a16="http://schemas.microsoft.com/office/drawing/2014/main" id="{4A23D5D7-7B2D-4AAA-9978-D5BA84094ABA}"/>
                </a:ext>
              </a:extLst>
            </p:cNvPr>
            <p:cNvCxnSpPr>
              <a:stCxn id="14" idx="0"/>
              <a:endCxn id="11" idx="2"/>
            </p:cNvCxnSpPr>
            <p:nvPr/>
          </p:nvCxnSpPr>
          <p:spPr>
            <a:xfrm rot="5400000" flipH="1" flipV="1">
              <a:off x="9150986" y="2888524"/>
              <a:ext cx="1514785" cy="632968"/>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8" name="Elbow Connector 54">
              <a:extLst>
                <a:ext uri="{FF2B5EF4-FFF2-40B4-BE49-F238E27FC236}">
                  <a16:creationId xmlns:a16="http://schemas.microsoft.com/office/drawing/2014/main" id="{D21B5062-5C3E-4C0C-B498-3A2F324621E2}"/>
                </a:ext>
              </a:extLst>
            </p:cNvPr>
            <p:cNvCxnSpPr>
              <a:stCxn id="15" idx="3"/>
              <a:endCxn id="11" idx="3"/>
            </p:cNvCxnSpPr>
            <p:nvPr/>
          </p:nvCxnSpPr>
          <p:spPr>
            <a:xfrm flipV="1">
              <a:off x="11122123" y="1954344"/>
              <a:ext cx="156839" cy="4214719"/>
            </a:xfrm>
            <a:prstGeom prst="bentConnector3">
              <a:avLst>
                <a:gd name="adj1" fmla="val 51484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grpSp>
    </p:spTree>
    <p:extLst>
      <p:ext uri="{BB962C8B-B14F-4D97-AF65-F5344CB8AC3E}">
        <p14:creationId xmlns:p14="http://schemas.microsoft.com/office/powerpoint/2010/main" val="37091938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1A5D9-963C-4317-B356-4A7E1A8D7D74}"/>
              </a:ext>
            </a:extLst>
          </p:cNvPr>
          <p:cNvSpPr>
            <a:spLocks noGrp="1"/>
          </p:cNvSpPr>
          <p:nvPr>
            <p:ph type="title"/>
          </p:nvPr>
        </p:nvSpPr>
        <p:spPr/>
        <p:txBody>
          <a:bodyPr/>
          <a:lstStyle/>
          <a:p>
            <a:r>
              <a:rPr lang="en-US" dirty="0"/>
              <a:t>Differential Changed Map (DCM)</a:t>
            </a:r>
          </a:p>
        </p:txBody>
      </p:sp>
      <p:sp>
        <p:nvSpPr>
          <p:cNvPr id="4" name="Content Placeholder 3">
            <a:extLst>
              <a:ext uri="{FF2B5EF4-FFF2-40B4-BE49-F238E27FC236}">
                <a16:creationId xmlns:a16="http://schemas.microsoft.com/office/drawing/2014/main" id="{9E5F6C3F-32FD-41B0-AA7E-62673DD37149}"/>
              </a:ext>
            </a:extLst>
          </p:cNvPr>
          <p:cNvSpPr>
            <a:spLocks noGrp="1"/>
          </p:cNvSpPr>
          <p:nvPr>
            <p:ph sz="quarter" idx="13"/>
          </p:nvPr>
        </p:nvSpPr>
        <p:spPr/>
        <p:txBody>
          <a:bodyPr/>
          <a:lstStyle/>
          <a:p>
            <a:r>
              <a:rPr lang="en-US" dirty="0"/>
              <a:t>Differential backups read the DCM pages to determine which extents have been modified and needs to be backed up.</a:t>
            </a:r>
          </a:p>
          <a:p>
            <a:r>
              <a:rPr lang="en-US" dirty="0"/>
              <a:t>Tracks the extents that have changed since the last BACKUP DATABASE statement.</a:t>
            </a:r>
          </a:p>
          <a:p>
            <a:pPr marL="0" indent="0">
              <a:buNone/>
            </a:pPr>
            <a:endParaRPr lang="en-US" dirty="0"/>
          </a:p>
        </p:txBody>
      </p:sp>
      <p:grpSp>
        <p:nvGrpSpPr>
          <p:cNvPr id="15" name="Group 14">
            <a:extLst>
              <a:ext uri="{FF2B5EF4-FFF2-40B4-BE49-F238E27FC236}">
                <a16:creationId xmlns:a16="http://schemas.microsoft.com/office/drawing/2014/main" id="{0336FC8F-056D-4C7A-86F0-6598A24C2FAB}"/>
              </a:ext>
            </a:extLst>
          </p:cNvPr>
          <p:cNvGrpSpPr/>
          <p:nvPr/>
        </p:nvGrpSpPr>
        <p:grpSpPr>
          <a:xfrm>
            <a:off x="2406978" y="3193330"/>
            <a:ext cx="8009641" cy="2387338"/>
            <a:chOff x="4354196" y="4109859"/>
            <a:chExt cx="4104004" cy="1261548"/>
          </a:xfrm>
        </p:grpSpPr>
        <p:sp>
          <p:nvSpPr>
            <p:cNvPr id="5" name="Rectangle 4">
              <a:extLst>
                <a:ext uri="{FF2B5EF4-FFF2-40B4-BE49-F238E27FC236}">
                  <a16:creationId xmlns:a16="http://schemas.microsoft.com/office/drawing/2014/main" id="{373CB32A-F9E9-48C0-8903-65F48CC982A3}"/>
                </a:ext>
              </a:extLst>
            </p:cNvPr>
            <p:cNvSpPr/>
            <p:nvPr/>
          </p:nvSpPr>
          <p:spPr>
            <a:xfrm>
              <a:off x="4354197" y="4109859"/>
              <a:ext cx="501539" cy="1219200"/>
            </a:xfrm>
            <a:prstGeom prst="rect">
              <a:avLst/>
            </a:prstGeom>
            <a:solidFill>
              <a:srgbClr val="129038">
                <a:lumMod val="40000"/>
                <a:lumOff val="60000"/>
              </a:srgbClr>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40D91B3D-8DE3-459F-BD19-D1F62563E822}"/>
                </a:ext>
              </a:extLst>
            </p:cNvPr>
            <p:cNvSpPr/>
            <p:nvPr/>
          </p:nvSpPr>
          <p:spPr>
            <a:xfrm>
              <a:off x="4354197" y="4109859"/>
              <a:ext cx="501539" cy="76200"/>
            </a:xfrm>
            <a:prstGeom prst="rect">
              <a:avLst/>
            </a:prstGeom>
            <a:solidFill>
              <a:srgbClr val="FFFF00"/>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23492DEB-9E27-43CE-98B7-FA80CD494513}"/>
                </a:ext>
              </a:extLst>
            </p:cNvPr>
            <p:cNvSpPr txBox="1"/>
            <p:nvPr/>
          </p:nvSpPr>
          <p:spPr>
            <a:xfrm>
              <a:off x="5013022" y="4751936"/>
              <a:ext cx="3445178" cy="374070"/>
            </a:xfrm>
            <a:prstGeom prst="rect">
              <a:avLst/>
            </a:prstGeom>
            <a:noFill/>
            <a:ln>
              <a:solidFill>
                <a:sysClr val="window" lastClr="FFFFFF"/>
              </a:solidFill>
            </a:ln>
          </p:spPr>
          <p:txBody>
            <a:bodyPr wrap="square" rtlCol="0">
              <a:spAutoFit/>
            </a:bodyPr>
            <a:lstStyle/>
            <a:p>
              <a:pPr lvl="0" defTabSz="457200">
                <a:buSzPct val="110000"/>
                <a:defRPr/>
              </a:pPr>
              <a:r>
                <a:rPr kumimoji="0" lang="en-GB" sz="2000" b="0" i="0" u="none" strike="noStrike" kern="0" cap="none" spc="0" normalizeH="0" baseline="0" noProof="0" dirty="0">
                  <a:ln>
                    <a:noFill/>
                  </a:ln>
                  <a:solidFill>
                    <a:srgbClr val="000000"/>
                  </a:solidFill>
                  <a:effectLst/>
                  <a:uLnTx/>
                  <a:uFillTx/>
                </a:rPr>
                <a:t>Bit = 0: Extent </a:t>
              </a:r>
              <a:r>
                <a:rPr lang="en-US" sz="2000" dirty="0"/>
                <a:t>has not been modified</a:t>
              </a:r>
              <a:endParaRPr kumimoji="0" lang="en-GB" sz="2000" b="0" i="0" u="none" strike="noStrike" kern="0" cap="none" spc="0" normalizeH="0" baseline="0" noProof="0" dirty="0">
                <a:ln>
                  <a:noFill/>
                </a:ln>
                <a:solidFill>
                  <a:srgbClr val="000000"/>
                </a:solidFill>
                <a:effectLst/>
                <a:uLnTx/>
                <a:uFillTx/>
              </a:endParaRPr>
            </a:p>
            <a:p>
              <a:pPr lvl="0" defTabSz="457200">
                <a:buSzPct val="110000"/>
                <a:defRPr/>
              </a:pPr>
              <a:r>
                <a:rPr kumimoji="0" lang="en-GB" sz="2000" b="0" i="0" u="none" strike="noStrike" kern="0" cap="none" spc="0" normalizeH="0" baseline="0" noProof="0" dirty="0">
                  <a:ln>
                    <a:noFill/>
                  </a:ln>
                  <a:solidFill>
                    <a:srgbClr val="000000"/>
                  </a:solidFill>
                  <a:effectLst/>
                  <a:uLnTx/>
                  <a:uFillTx/>
                </a:rPr>
                <a:t>Bit = 1: Extent </a:t>
              </a:r>
              <a:r>
                <a:rPr lang="en-US" sz="2000" dirty="0"/>
                <a:t>has been modified </a:t>
              </a:r>
              <a:endParaRPr kumimoji="0" lang="en-GB" sz="2000" b="0" i="0" u="none" strike="noStrike" kern="0" cap="none" spc="0" normalizeH="0" baseline="0" noProof="0" dirty="0">
                <a:ln>
                  <a:noFill/>
                </a:ln>
                <a:solidFill>
                  <a:srgbClr val="000000"/>
                </a:solidFill>
                <a:effectLst/>
                <a:uLnTx/>
                <a:uFillTx/>
              </a:endParaRPr>
            </a:p>
          </p:txBody>
        </p:sp>
        <p:sp>
          <p:nvSpPr>
            <p:cNvPr id="8" name="Rectangle 7">
              <a:extLst>
                <a:ext uri="{FF2B5EF4-FFF2-40B4-BE49-F238E27FC236}">
                  <a16:creationId xmlns:a16="http://schemas.microsoft.com/office/drawing/2014/main" id="{35F826D6-55A7-41D6-A364-810758CABF43}"/>
                </a:ext>
              </a:extLst>
            </p:cNvPr>
            <p:cNvSpPr/>
            <p:nvPr/>
          </p:nvSpPr>
          <p:spPr>
            <a:xfrm>
              <a:off x="5968995"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0</a:t>
              </a:r>
            </a:p>
          </p:txBody>
        </p:sp>
        <p:sp>
          <p:nvSpPr>
            <p:cNvPr id="9" name="Rectangle 8">
              <a:extLst>
                <a:ext uri="{FF2B5EF4-FFF2-40B4-BE49-F238E27FC236}">
                  <a16:creationId xmlns:a16="http://schemas.microsoft.com/office/drawing/2014/main" id="{904F4358-D135-4C55-8DEF-6CE322CA7BB0}"/>
                </a:ext>
              </a:extLst>
            </p:cNvPr>
            <p:cNvSpPr/>
            <p:nvPr/>
          </p:nvSpPr>
          <p:spPr>
            <a:xfrm>
              <a:off x="6293898"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1</a:t>
              </a:r>
            </a:p>
          </p:txBody>
        </p:sp>
        <p:sp>
          <p:nvSpPr>
            <p:cNvPr id="10" name="TextBox 9">
              <a:extLst>
                <a:ext uri="{FF2B5EF4-FFF2-40B4-BE49-F238E27FC236}">
                  <a16:creationId xmlns:a16="http://schemas.microsoft.com/office/drawing/2014/main" id="{03C26F3A-4F3C-49D7-BBF7-A075032BCFC5}"/>
                </a:ext>
              </a:extLst>
            </p:cNvPr>
            <p:cNvSpPr txBox="1"/>
            <p:nvPr/>
          </p:nvSpPr>
          <p:spPr>
            <a:xfrm>
              <a:off x="5840895" y="4485375"/>
              <a:ext cx="1022077" cy="170771"/>
            </a:xfrm>
            <a:prstGeom prst="rect">
              <a:avLst/>
            </a:prstGeom>
            <a:noFill/>
            <a:ln>
              <a:solidFill>
                <a:sysClr val="window" lastClr="FFFFFF"/>
              </a:solidFill>
            </a:ln>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lang="en-GB" sz="1500" kern="0" dirty="0">
                  <a:solidFill>
                    <a:srgbClr val="000000"/>
                  </a:solidFill>
                </a:rPr>
                <a:t>DCM</a:t>
              </a:r>
              <a:r>
                <a:rPr kumimoji="0" lang="en-GB" sz="1500" b="0" i="0" u="none" strike="noStrike" kern="0" cap="none" spc="0" normalizeH="0" baseline="0" noProof="0" dirty="0">
                  <a:ln>
                    <a:noFill/>
                  </a:ln>
                  <a:solidFill>
                    <a:srgbClr val="000000"/>
                  </a:solidFill>
                  <a:effectLst/>
                  <a:uLnTx/>
                  <a:uFillTx/>
                </a:rPr>
                <a:t> Bitmap = 1 Bit</a:t>
              </a:r>
            </a:p>
          </p:txBody>
        </p:sp>
        <p:sp>
          <p:nvSpPr>
            <p:cNvPr id="11" name="Rectangle 10">
              <a:extLst>
                <a:ext uri="{FF2B5EF4-FFF2-40B4-BE49-F238E27FC236}">
                  <a16:creationId xmlns:a16="http://schemas.microsoft.com/office/drawing/2014/main" id="{DF589DC9-3278-4FB3-BF6D-E073E115C086}"/>
                </a:ext>
              </a:extLst>
            </p:cNvPr>
            <p:cNvSpPr/>
            <p:nvPr/>
          </p:nvSpPr>
          <p:spPr>
            <a:xfrm>
              <a:off x="4355159" y="4231778"/>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2" name="Straight Connector 11">
              <a:extLst>
                <a:ext uri="{FF2B5EF4-FFF2-40B4-BE49-F238E27FC236}">
                  <a16:creationId xmlns:a16="http://schemas.microsoft.com/office/drawing/2014/main" id="{82B12B57-849C-4212-8EEB-F5479702B459}"/>
                </a:ext>
              </a:extLst>
            </p:cNvPr>
            <p:cNvCxnSpPr>
              <a:endCxn id="8" idx="1"/>
            </p:cNvCxnSpPr>
            <p:nvPr/>
          </p:nvCxnSpPr>
          <p:spPr>
            <a:xfrm>
              <a:off x="4856083" y="4208916"/>
              <a:ext cx="1112912" cy="108991"/>
            </a:xfrm>
            <a:prstGeom prst="line">
              <a:avLst/>
            </a:prstGeom>
            <a:noFill/>
            <a:ln w="9525" cap="flat" cmpd="sng" algn="ctr">
              <a:solidFill>
                <a:srgbClr val="000000"/>
              </a:solidFill>
              <a:prstDash val="solid"/>
              <a:tailEnd type="triangle"/>
            </a:ln>
            <a:effectLst/>
          </p:spPr>
        </p:cxnSp>
        <p:sp>
          <p:nvSpPr>
            <p:cNvPr id="13" name="Rectangle 12">
              <a:extLst>
                <a:ext uri="{FF2B5EF4-FFF2-40B4-BE49-F238E27FC236}">
                  <a16:creationId xmlns:a16="http://schemas.microsoft.com/office/drawing/2014/main" id="{9066A386-D587-4CA5-8516-FC26C511B27A}"/>
                </a:ext>
              </a:extLst>
            </p:cNvPr>
            <p:cNvSpPr/>
            <p:nvPr/>
          </p:nvSpPr>
          <p:spPr>
            <a:xfrm>
              <a:off x="4354196" y="4186059"/>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E93A34FC-724E-4712-8B2E-F36DABE4A158}"/>
                </a:ext>
              </a:extLst>
            </p:cNvPr>
            <p:cNvSpPr txBox="1"/>
            <p:nvPr/>
          </p:nvSpPr>
          <p:spPr>
            <a:xfrm>
              <a:off x="4495800" y="4263411"/>
              <a:ext cx="218330" cy="1107996"/>
            </a:xfrm>
            <a:prstGeom prst="rect">
              <a:avLst/>
            </a:prstGeom>
            <a:noFill/>
            <a:ln>
              <a:solidFill>
                <a:srgbClr val="000000"/>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4326359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1DD6B-6EA5-42DA-942A-B374042ADE57}"/>
              </a:ext>
            </a:extLst>
          </p:cNvPr>
          <p:cNvSpPr>
            <a:spLocks noGrp="1"/>
          </p:cNvSpPr>
          <p:nvPr>
            <p:ph type="title"/>
          </p:nvPr>
        </p:nvSpPr>
        <p:spPr/>
        <p:txBody>
          <a:bodyPr/>
          <a:lstStyle/>
          <a:p>
            <a:r>
              <a:rPr lang="en-US" dirty="0"/>
              <a:t>Bulk Changed Map (BCM)</a:t>
            </a:r>
          </a:p>
        </p:txBody>
      </p:sp>
      <p:sp>
        <p:nvSpPr>
          <p:cNvPr id="4" name="Content Placeholder 3">
            <a:extLst>
              <a:ext uri="{FF2B5EF4-FFF2-40B4-BE49-F238E27FC236}">
                <a16:creationId xmlns:a16="http://schemas.microsoft.com/office/drawing/2014/main" id="{89E20844-C3D7-44B5-84C1-E64B49D8A330}"/>
              </a:ext>
            </a:extLst>
          </p:cNvPr>
          <p:cNvSpPr>
            <a:spLocks noGrp="1"/>
          </p:cNvSpPr>
          <p:nvPr>
            <p:ph sz="quarter" idx="13"/>
          </p:nvPr>
        </p:nvSpPr>
        <p:spPr/>
        <p:txBody>
          <a:bodyPr/>
          <a:lstStyle/>
          <a:p>
            <a:r>
              <a:rPr lang="en-US" dirty="0"/>
              <a:t>This tracks the extents that have been modified by bulk logged operations (bcp, BULK INSERT, INSERT... SELECT, SELECT INTO, ALTER INDEX REBUILD, and others) since the last BACKUP LOG statement.</a:t>
            </a:r>
          </a:p>
        </p:txBody>
      </p:sp>
      <p:graphicFrame>
        <p:nvGraphicFramePr>
          <p:cNvPr id="7" name="Diagram 6">
            <a:extLst>
              <a:ext uri="{FF2B5EF4-FFF2-40B4-BE49-F238E27FC236}">
                <a16:creationId xmlns:a16="http://schemas.microsoft.com/office/drawing/2014/main" id="{DFA70EE5-47C2-4188-B4E4-F58C87B3B8E6}"/>
              </a:ext>
            </a:extLst>
          </p:cNvPr>
          <p:cNvGraphicFramePr/>
          <p:nvPr>
            <p:extLst>
              <p:ext uri="{D42A27DB-BD31-4B8C-83A1-F6EECF244321}">
                <p14:modId xmlns:p14="http://schemas.microsoft.com/office/powerpoint/2010/main" val="2325379868"/>
              </p:ext>
            </p:extLst>
          </p:nvPr>
        </p:nvGraphicFramePr>
        <p:xfrm>
          <a:off x="655636" y="5522976"/>
          <a:ext cx="10880726" cy="591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8" name="Group 17">
            <a:extLst>
              <a:ext uri="{FF2B5EF4-FFF2-40B4-BE49-F238E27FC236}">
                <a16:creationId xmlns:a16="http://schemas.microsoft.com/office/drawing/2014/main" id="{DB2F157F-81AE-4B1E-A252-4773147D7D22}"/>
              </a:ext>
            </a:extLst>
          </p:cNvPr>
          <p:cNvGrpSpPr/>
          <p:nvPr/>
        </p:nvGrpSpPr>
        <p:grpSpPr>
          <a:xfrm>
            <a:off x="1404594" y="2677927"/>
            <a:ext cx="10131768" cy="2495557"/>
            <a:chOff x="4354196" y="4109859"/>
            <a:chExt cx="6085204" cy="1261548"/>
          </a:xfrm>
        </p:grpSpPr>
        <p:sp>
          <p:nvSpPr>
            <p:cNvPr id="8" name="Rectangle 7">
              <a:extLst>
                <a:ext uri="{FF2B5EF4-FFF2-40B4-BE49-F238E27FC236}">
                  <a16:creationId xmlns:a16="http://schemas.microsoft.com/office/drawing/2014/main" id="{045CCA23-C533-4C61-BBD5-F1CCB9E0306B}"/>
                </a:ext>
              </a:extLst>
            </p:cNvPr>
            <p:cNvSpPr/>
            <p:nvPr/>
          </p:nvSpPr>
          <p:spPr>
            <a:xfrm>
              <a:off x="4354197" y="4109859"/>
              <a:ext cx="501539" cy="1219200"/>
            </a:xfrm>
            <a:prstGeom prst="rect">
              <a:avLst/>
            </a:prstGeom>
            <a:solidFill>
              <a:srgbClr val="129038">
                <a:lumMod val="40000"/>
                <a:lumOff val="60000"/>
              </a:srgbClr>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94CC4DB6-AE74-498A-9D85-CBB1FEC3186B}"/>
                </a:ext>
              </a:extLst>
            </p:cNvPr>
            <p:cNvSpPr/>
            <p:nvPr/>
          </p:nvSpPr>
          <p:spPr>
            <a:xfrm>
              <a:off x="4354197" y="4109859"/>
              <a:ext cx="501539" cy="76200"/>
            </a:xfrm>
            <a:prstGeom prst="rect">
              <a:avLst/>
            </a:prstGeom>
            <a:solidFill>
              <a:srgbClr val="FFFF00"/>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812F8AC5-BE68-4EDB-BDF2-AB9810E2DFBC}"/>
                </a:ext>
              </a:extLst>
            </p:cNvPr>
            <p:cNvSpPr txBox="1"/>
            <p:nvPr/>
          </p:nvSpPr>
          <p:spPr>
            <a:xfrm>
              <a:off x="5013022" y="4751936"/>
              <a:ext cx="5426378" cy="513436"/>
            </a:xfrm>
            <a:prstGeom prst="rect">
              <a:avLst/>
            </a:prstGeom>
            <a:noFill/>
            <a:ln>
              <a:solidFill>
                <a:sysClr val="window" lastClr="FFFFFF"/>
              </a:solidFill>
            </a:ln>
          </p:spPr>
          <p:txBody>
            <a:bodyPr wrap="square" rtlCol="0">
              <a:spAutoFit/>
            </a:bodyPr>
            <a:lstStyle/>
            <a:p>
              <a:pPr lvl="0" defTabSz="457200">
                <a:buSzPct val="110000"/>
                <a:defRPr/>
              </a:pPr>
              <a:r>
                <a:rPr kumimoji="0" lang="en-GB" sz="2000" b="0" i="0" u="none" strike="noStrike" kern="0" cap="none" spc="0" normalizeH="0" baseline="0" noProof="0" dirty="0">
                  <a:ln>
                    <a:noFill/>
                  </a:ln>
                  <a:solidFill>
                    <a:srgbClr val="000000"/>
                  </a:solidFill>
                  <a:effectLst/>
                  <a:uLnTx/>
                  <a:uFillTx/>
                </a:rPr>
                <a:t>Bit = 0: Extent </a:t>
              </a:r>
              <a:r>
                <a:rPr lang="en-US" sz="2000" dirty="0"/>
                <a:t>has not been modified by bulk logged operations.</a:t>
              </a:r>
              <a:endParaRPr kumimoji="0" lang="en-GB" sz="2000" b="0" i="0" u="none" strike="noStrike" kern="0" cap="none" spc="0" normalizeH="0" baseline="0" noProof="0" dirty="0">
                <a:ln>
                  <a:noFill/>
                </a:ln>
                <a:solidFill>
                  <a:srgbClr val="000000"/>
                </a:solidFill>
                <a:effectLst/>
                <a:uLnTx/>
                <a:uFillTx/>
              </a:endParaRPr>
            </a:p>
            <a:p>
              <a:pPr lvl="0" defTabSz="457200">
                <a:buSzPct val="110000"/>
                <a:defRPr/>
              </a:pPr>
              <a:r>
                <a:rPr kumimoji="0" lang="en-GB" sz="2000" b="0" i="0" u="none" strike="noStrike" kern="0" cap="none" spc="0" normalizeH="0" baseline="0" noProof="0" dirty="0">
                  <a:ln>
                    <a:noFill/>
                  </a:ln>
                  <a:solidFill>
                    <a:srgbClr val="000000"/>
                  </a:solidFill>
                  <a:effectLst/>
                  <a:uLnTx/>
                  <a:uFillTx/>
                </a:rPr>
                <a:t>Bit = 1: Extent </a:t>
              </a:r>
              <a:r>
                <a:rPr lang="en-US" sz="2000" dirty="0"/>
                <a:t>has been modified by a bulk logged operation after the last BACKUP LOG statement </a:t>
              </a:r>
              <a:endParaRPr kumimoji="0" lang="en-GB" sz="2000" b="0" i="0" u="none" strike="noStrike" kern="0" cap="none" spc="0" normalizeH="0" baseline="0" noProof="0" dirty="0">
                <a:ln>
                  <a:noFill/>
                </a:ln>
                <a:solidFill>
                  <a:srgbClr val="000000"/>
                </a:solidFill>
                <a:effectLst/>
                <a:uLnTx/>
                <a:uFillTx/>
              </a:endParaRPr>
            </a:p>
          </p:txBody>
        </p:sp>
        <p:sp>
          <p:nvSpPr>
            <p:cNvPr id="11" name="Rectangle 10">
              <a:extLst>
                <a:ext uri="{FF2B5EF4-FFF2-40B4-BE49-F238E27FC236}">
                  <a16:creationId xmlns:a16="http://schemas.microsoft.com/office/drawing/2014/main" id="{073E9881-2F67-4EF1-B169-CE0531100A6E}"/>
                </a:ext>
              </a:extLst>
            </p:cNvPr>
            <p:cNvSpPr/>
            <p:nvPr/>
          </p:nvSpPr>
          <p:spPr>
            <a:xfrm>
              <a:off x="5968995"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0</a:t>
              </a:r>
            </a:p>
          </p:txBody>
        </p:sp>
        <p:sp>
          <p:nvSpPr>
            <p:cNvPr id="12" name="Rectangle 11">
              <a:extLst>
                <a:ext uri="{FF2B5EF4-FFF2-40B4-BE49-F238E27FC236}">
                  <a16:creationId xmlns:a16="http://schemas.microsoft.com/office/drawing/2014/main" id="{D3E5EE39-89CF-4C7C-A48A-C7DA670EE23A}"/>
                </a:ext>
              </a:extLst>
            </p:cNvPr>
            <p:cNvSpPr/>
            <p:nvPr/>
          </p:nvSpPr>
          <p:spPr>
            <a:xfrm>
              <a:off x="6293898"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1</a:t>
              </a:r>
            </a:p>
          </p:txBody>
        </p:sp>
        <p:sp>
          <p:nvSpPr>
            <p:cNvPr id="13" name="TextBox 12">
              <a:extLst>
                <a:ext uri="{FF2B5EF4-FFF2-40B4-BE49-F238E27FC236}">
                  <a16:creationId xmlns:a16="http://schemas.microsoft.com/office/drawing/2014/main" id="{7C924979-72F1-4070-BF4D-9CD165B1B760}"/>
                </a:ext>
              </a:extLst>
            </p:cNvPr>
            <p:cNvSpPr txBox="1"/>
            <p:nvPr/>
          </p:nvSpPr>
          <p:spPr>
            <a:xfrm>
              <a:off x="5411013" y="4504971"/>
              <a:ext cx="1880643" cy="323165"/>
            </a:xfrm>
            <a:prstGeom prst="rect">
              <a:avLst/>
            </a:prstGeom>
            <a:noFill/>
            <a:ln>
              <a:solidFill>
                <a:sysClr val="window" lastClr="FFFFFF"/>
              </a:solidFill>
            </a:ln>
          </p:spPr>
          <p:txBody>
            <a:bodyPr wrap="none" rtlCol="0">
              <a:spAutoFit/>
            </a:bodyPr>
            <a:lstStyle/>
            <a:p>
              <a:pPr lvl="0" defTabSz="457200">
                <a:buSzPct val="110000"/>
                <a:defRPr/>
              </a:pPr>
              <a:r>
                <a:rPr lang="en-GB" sz="1500" kern="0" dirty="0">
                  <a:solidFill>
                    <a:srgbClr val="000000"/>
                  </a:solidFill>
                </a:rPr>
                <a:t>BCM</a:t>
              </a:r>
              <a:r>
                <a:rPr kumimoji="0" lang="en-GB" sz="1500" b="0" i="0" u="none" strike="noStrike" kern="0" cap="none" spc="0" normalizeH="0" baseline="0" noProof="0" dirty="0">
                  <a:ln>
                    <a:noFill/>
                  </a:ln>
                  <a:solidFill>
                    <a:srgbClr val="000000"/>
                  </a:solidFill>
                  <a:effectLst/>
                  <a:uLnTx/>
                  <a:uFillTx/>
                </a:rPr>
                <a:t> Bitmap = 1 Bit</a:t>
              </a:r>
            </a:p>
          </p:txBody>
        </p:sp>
        <p:sp>
          <p:nvSpPr>
            <p:cNvPr id="14" name="Rectangle 13">
              <a:extLst>
                <a:ext uri="{FF2B5EF4-FFF2-40B4-BE49-F238E27FC236}">
                  <a16:creationId xmlns:a16="http://schemas.microsoft.com/office/drawing/2014/main" id="{53A445E7-3403-4336-9BAA-DA27FE615134}"/>
                </a:ext>
              </a:extLst>
            </p:cNvPr>
            <p:cNvSpPr/>
            <p:nvPr/>
          </p:nvSpPr>
          <p:spPr>
            <a:xfrm>
              <a:off x="4355159" y="4231778"/>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5" name="Straight Connector 14">
              <a:extLst>
                <a:ext uri="{FF2B5EF4-FFF2-40B4-BE49-F238E27FC236}">
                  <a16:creationId xmlns:a16="http://schemas.microsoft.com/office/drawing/2014/main" id="{2D1D3170-AE62-4DFE-8D4E-9A12FDCA7854}"/>
                </a:ext>
              </a:extLst>
            </p:cNvPr>
            <p:cNvCxnSpPr>
              <a:endCxn id="11" idx="1"/>
            </p:cNvCxnSpPr>
            <p:nvPr/>
          </p:nvCxnSpPr>
          <p:spPr>
            <a:xfrm>
              <a:off x="4856083" y="4208916"/>
              <a:ext cx="1112912" cy="108991"/>
            </a:xfrm>
            <a:prstGeom prst="line">
              <a:avLst/>
            </a:prstGeom>
            <a:noFill/>
            <a:ln w="9525" cap="flat" cmpd="sng" algn="ctr">
              <a:solidFill>
                <a:srgbClr val="000000"/>
              </a:solidFill>
              <a:prstDash val="solid"/>
              <a:tailEnd type="triangle"/>
            </a:ln>
            <a:effectLst/>
          </p:spPr>
        </p:cxnSp>
        <p:sp>
          <p:nvSpPr>
            <p:cNvPr id="16" name="Rectangle 15">
              <a:extLst>
                <a:ext uri="{FF2B5EF4-FFF2-40B4-BE49-F238E27FC236}">
                  <a16:creationId xmlns:a16="http://schemas.microsoft.com/office/drawing/2014/main" id="{C8FA5CCD-EC76-45DC-B853-F6ACAE36035E}"/>
                </a:ext>
              </a:extLst>
            </p:cNvPr>
            <p:cNvSpPr/>
            <p:nvPr/>
          </p:nvSpPr>
          <p:spPr>
            <a:xfrm>
              <a:off x="4354196" y="4186059"/>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BB59E2EB-9867-4368-A03B-A35812B86B16}"/>
                </a:ext>
              </a:extLst>
            </p:cNvPr>
            <p:cNvSpPr txBox="1"/>
            <p:nvPr/>
          </p:nvSpPr>
          <p:spPr>
            <a:xfrm>
              <a:off x="4495800" y="4263411"/>
              <a:ext cx="218330" cy="1107996"/>
            </a:xfrm>
            <a:prstGeom prst="rect">
              <a:avLst/>
            </a:prstGeom>
            <a:noFill/>
            <a:ln>
              <a:solidFill>
                <a:srgbClr val="000000"/>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14599923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844966639"/>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078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72909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4: SQL Server TempDB File Structure</a:t>
            </a:r>
            <a:endParaRPr lang="en-US" dirty="0"/>
          </a:p>
        </p:txBody>
      </p:sp>
    </p:spTree>
    <p:extLst>
      <p:ext uri="{BB962C8B-B14F-4D97-AF65-F5344CB8AC3E}">
        <p14:creationId xmlns:p14="http://schemas.microsoft.com/office/powerpoint/2010/main" val="8096790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TempDB database structure. </a:t>
            </a:r>
          </a:p>
          <a:p>
            <a:r>
              <a:rPr lang="en-US" dirty="0"/>
              <a:t>Optimize TempDB database.</a:t>
            </a:r>
          </a:p>
          <a:p>
            <a:r>
              <a:rPr lang="en-US" dirty="0"/>
              <a:t>Use the newest improvements in SQL Server for TempDB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47321886"/>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55443-3A8B-474A-A0B6-27739179DE8F}"/>
              </a:ext>
            </a:extLst>
          </p:cNvPr>
          <p:cNvSpPr>
            <a:spLocks noGrp="1"/>
          </p:cNvSpPr>
          <p:nvPr>
            <p:ph type="title"/>
          </p:nvPr>
        </p:nvSpPr>
        <p:spPr/>
        <p:txBody>
          <a:bodyPr/>
          <a:lstStyle/>
          <a:p>
            <a:r>
              <a:rPr lang="en-US" dirty="0"/>
              <a:t>TempDB database</a:t>
            </a:r>
          </a:p>
        </p:txBody>
      </p:sp>
      <p:graphicFrame>
        <p:nvGraphicFramePr>
          <p:cNvPr id="5" name="Content Placeholder 4">
            <a:extLst>
              <a:ext uri="{FF2B5EF4-FFF2-40B4-BE49-F238E27FC236}">
                <a16:creationId xmlns:a16="http://schemas.microsoft.com/office/drawing/2014/main" id="{04CBBDA1-E1FB-4E16-BE17-7A07D75BC01B}"/>
              </a:ext>
            </a:extLst>
          </p:cNvPr>
          <p:cNvGraphicFramePr>
            <a:graphicFrameLocks noGrp="1"/>
          </p:cNvGraphicFramePr>
          <p:nvPr>
            <p:ph sz="quarter" idx="13"/>
            <p:extLst>
              <p:ext uri="{D42A27DB-BD31-4B8C-83A1-F6EECF244321}">
                <p14:modId xmlns:p14="http://schemas.microsoft.com/office/powerpoint/2010/main" val="884243576"/>
              </p:ext>
            </p:extLst>
          </p:nvPr>
        </p:nvGraphicFramePr>
        <p:xfrm>
          <a:off x="655638" y="1408113"/>
          <a:ext cx="10880725" cy="40431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8003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B8C-92DF-49A1-9556-51CAD9105FF9}"/>
              </a:ext>
            </a:extLst>
          </p:cNvPr>
          <p:cNvSpPr>
            <a:spLocks noGrp="1"/>
          </p:cNvSpPr>
          <p:nvPr>
            <p:ph type="title"/>
          </p:nvPr>
        </p:nvSpPr>
        <p:spPr/>
        <p:txBody>
          <a:bodyPr/>
          <a:lstStyle/>
          <a:p>
            <a:r>
              <a:rPr lang="en-US" dirty="0"/>
              <a:t>What is stored in TempDB?</a:t>
            </a:r>
          </a:p>
        </p:txBody>
      </p:sp>
      <p:graphicFrame>
        <p:nvGraphicFramePr>
          <p:cNvPr id="5" name="Content Placeholder 4">
            <a:extLst>
              <a:ext uri="{FF2B5EF4-FFF2-40B4-BE49-F238E27FC236}">
                <a16:creationId xmlns:a16="http://schemas.microsoft.com/office/drawing/2014/main" id="{E833510A-A091-4440-96D0-AFFAB6B3D994}"/>
              </a:ext>
            </a:extLst>
          </p:cNvPr>
          <p:cNvGraphicFramePr>
            <a:graphicFrameLocks noGrp="1"/>
          </p:cNvGraphicFramePr>
          <p:nvPr>
            <p:ph sz="quarter" idx="13"/>
            <p:extLst>
              <p:ext uri="{D42A27DB-BD31-4B8C-83A1-F6EECF244321}">
                <p14:modId xmlns:p14="http://schemas.microsoft.com/office/powerpoint/2010/main" val="220821094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12324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p:txBody>
          <a:bodyPr/>
          <a:lstStyle/>
          <a:p>
            <a:r>
              <a:rPr lang="en-US" dirty="0"/>
              <a:t>Physical properties of TempDB</a:t>
            </a:r>
          </a:p>
        </p:txBody>
      </p:sp>
      <p:graphicFrame>
        <p:nvGraphicFramePr>
          <p:cNvPr id="5" name="Table 5">
            <a:extLst>
              <a:ext uri="{FF2B5EF4-FFF2-40B4-BE49-F238E27FC236}">
                <a16:creationId xmlns:a16="http://schemas.microsoft.com/office/drawing/2014/main" id="{EC86D27A-8B18-42B7-81D9-F0811600F100}"/>
              </a:ext>
            </a:extLst>
          </p:cNvPr>
          <p:cNvGraphicFramePr>
            <a:graphicFrameLocks noGrp="1"/>
          </p:cNvGraphicFramePr>
          <p:nvPr>
            <p:ph sz="quarter" idx="13"/>
            <p:extLst>
              <p:ext uri="{D42A27DB-BD31-4B8C-83A1-F6EECF244321}">
                <p14:modId xmlns:p14="http://schemas.microsoft.com/office/powerpoint/2010/main" val="3620413199"/>
              </p:ext>
            </p:extLst>
          </p:nvPr>
        </p:nvGraphicFramePr>
        <p:xfrm>
          <a:off x="655638" y="1408113"/>
          <a:ext cx="10880725" cy="2108200"/>
        </p:xfrm>
        <a:graphic>
          <a:graphicData uri="http://schemas.openxmlformats.org/drawingml/2006/table">
            <a:tbl>
              <a:tblPr firstRow="1" bandRow="1">
                <a:tableStyleId>{21E4AEA4-8DFA-4A89-87EB-49C32662AFE0}</a:tableStyleId>
              </a:tblPr>
              <a:tblGrid>
                <a:gridCol w="2316162">
                  <a:extLst>
                    <a:ext uri="{9D8B030D-6E8A-4147-A177-3AD203B41FA5}">
                      <a16:colId xmlns:a16="http://schemas.microsoft.com/office/drawing/2014/main" val="1021564575"/>
                    </a:ext>
                  </a:extLst>
                </a:gridCol>
                <a:gridCol w="2036128">
                  <a:extLst>
                    <a:ext uri="{9D8B030D-6E8A-4147-A177-3AD203B41FA5}">
                      <a16:colId xmlns:a16="http://schemas.microsoft.com/office/drawing/2014/main" val="2591972079"/>
                    </a:ext>
                  </a:extLst>
                </a:gridCol>
                <a:gridCol w="2176145">
                  <a:extLst>
                    <a:ext uri="{9D8B030D-6E8A-4147-A177-3AD203B41FA5}">
                      <a16:colId xmlns:a16="http://schemas.microsoft.com/office/drawing/2014/main" val="858435807"/>
                    </a:ext>
                  </a:extLst>
                </a:gridCol>
                <a:gridCol w="1426527">
                  <a:extLst>
                    <a:ext uri="{9D8B030D-6E8A-4147-A177-3AD203B41FA5}">
                      <a16:colId xmlns:a16="http://schemas.microsoft.com/office/drawing/2014/main" val="3744907020"/>
                    </a:ext>
                  </a:extLst>
                </a:gridCol>
                <a:gridCol w="2925763">
                  <a:extLst>
                    <a:ext uri="{9D8B030D-6E8A-4147-A177-3AD203B41FA5}">
                      <a16:colId xmlns:a16="http://schemas.microsoft.com/office/drawing/2014/main" val="3548802934"/>
                    </a:ext>
                  </a:extLst>
                </a:gridCol>
              </a:tblGrid>
              <a:tr h="370840">
                <a:tc>
                  <a:txBody>
                    <a:bodyPr/>
                    <a:lstStyle/>
                    <a:p>
                      <a:pPr algn="l" fontAlgn="b"/>
                      <a:r>
                        <a:rPr lang="en-US" sz="1600" dirty="0">
                          <a:effectLst/>
                        </a:rPr>
                        <a:t>File</a:t>
                      </a:r>
                    </a:p>
                  </a:txBody>
                  <a:tcPr anchor="b"/>
                </a:tc>
                <a:tc>
                  <a:txBody>
                    <a:bodyPr/>
                    <a:lstStyle/>
                    <a:p>
                      <a:pPr algn="l" fontAlgn="b"/>
                      <a:r>
                        <a:rPr lang="en-US" sz="1600" dirty="0">
                          <a:effectLst/>
                        </a:rPr>
                        <a:t>Logical name</a:t>
                      </a:r>
                    </a:p>
                  </a:txBody>
                  <a:tcPr anchor="b"/>
                </a:tc>
                <a:tc>
                  <a:txBody>
                    <a:bodyPr/>
                    <a:lstStyle/>
                    <a:p>
                      <a:pPr algn="l" fontAlgn="b"/>
                      <a:r>
                        <a:rPr lang="en-US" sz="1600" dirty="0">
                          <a:effectLst/>
                        </a:rPr>
                        <a:t>Physical name</a:t>
                      </a:r>
                    </a:p>
                  </a:txBody>
                  <a:tcPr anchor="b"/>
                </a:tc>
                <a:tc>
                  <a:txBody>
                    <a:bodyPr/>
                    <a:lstStyle/>
                    <a:p>
                      <a:pPr algn="l" fontAlgn="b"/>
                      <a:r>
                        <a:rPr lang="en-US" sz="1600" dirty="0">
                          <a:effectLst/>
                        </a:rPr>
                        <a:t>Initial size</a:t>
                      </a:r>
                    </a:p>
                  </a:txBody>
                  <a:tcPr anchor="b"/>
                </a:tc>
                <a:tc>
                  <a:txBody>
                    <a:bodyPr/>
                    <a:lstStyle/>
                    <a:p>
                      <a:pPr algn="l" fontAlgn="b"/>
                      <a:r>
                        <a:rPr lang="en-US" sz="1600" dirty="0">
                          <a:effectLst/>
                        </a:rPr>
                        <a:t>File growth</a:t>
                      </a:r>
                    </a:p>
                  </a:txBody>
                  <a:tcPr anchor="b"/>
                </a:tc>
                <a:extLst>
                  <a:ext uri="{0D108BD9-81ED-4DB2-BD59-A6C34878D82A}">
                    <a16:rowId xmlns:a16="http://schemas.microsoft.com/office/drawing/2014/main" val="1476935914"/>
                  </a:ext>
                </a:extLst>
              </a:tr>
              <a:tr h="370840">
                <a:tc>
                  <a:txBody>
                    <a:bodyPr/>
                    <a:lstStyle/>
                    <a:p>
                      <a:pPr algn="l" fontAlgn="t"/>
                      <a:r>
                        <a:rPr lang="en-US" sz="1600" dirty="0">
                          <a:effectLst/>
                        </a:rPr>
                        <a:t>Primary data</a:t>
                      </a:r>
                    </a:p>
                  </a:txBody>
                  <a:tcPr/>
                </a:tc>
                <a:tc>
                  <a:txBody>
                    <a:bodyPr/>
                    <a:lstStyle/>
                    <a:p>
                      <a:pPr algn="l" fontAlgn="t"/>
                      <a:r>
                        <a:rPr lang="en-US" sz="1600" dirty="0">
                          <a:effectLst/>
                        </a:rPr>
                        <a:t>tempdev</a:t>
                      </a:r>
                    </a:p>
                  </a:txBody>
                  <a:tcPr/>
                </a:tc>
                <a:tc>
                  <a:txBody>
                    <a:bodyPr/>
                    <a:lstStyle/>
                    <a:p>
                      <a:pPr algn="l" fontAlgn="t"/>
                      <a:r>
                        <a:rPr lang="en-US" sz="1600" dirty="0">
                          <a:effectLst/>
                        </a:rPr>
                        <a:t>tempdb.m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2165099268"/>
                  </a:ext>
                </a:extLst>
              </a:tr>
              <a:tr h="370840">
                <a:tc>
                  <a:txBody>
                    <a:bodyPr/>
                    <a:lstStyle/>
                    <a:p>
                      <a:pPr algn="l" fontAlgn="t"/>
                      <a:r>
                        <a:rPr lang="en-US" sz="1600" dirty="0">
                          <a:effectLst/>
                        </a:rPr>
                        <a:t>Secondary data files</a:t>
                      </a:r>
                      <a:r>
                        <a:rPr lang="en-US" sz="1600" b="1" dirty="0">
                          <a:effectLst/>
                        </a:rPr>
                        <a:t>*</a:t>
                      </a:r>
                    </a:p>
                  </a:txBody>
                  <a:tcPr/>
                </a:tc>
                <a:tc>
                  <a:txBody>
                    <a:bodyPr/>
                    <a:lstStyle/>
                    <a:p>
                      <a:pPr algn="l" fontAlgn="t"/>
                      <a:r>
                        <a:rPr lang="en-US" sz="1600" dirty="0">
                          <a:effectLst/>
                        </a:rPr>
                        <a:t>temp#</a:t>
                      </a:r>
                    </a:p>
                  </a:txBody>
                  <a:tcPr/>
                </a:tc>
                <a:tc>
                  <a:txBody>
                    <a:bodyPr/>
                    <a:lstStyle/>
                    <a:p>
                      <a:pPr algn="l" fontAlgn="t"/>
                      <a:r>
                        <a:rPr lang="en-US" sz="1600" dirty="0">
                          <a:effectLst/>
                        </a:rPr>
                        <a:t>tempdb_mssql_#.n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1498157959"/>
                  </a:ext>
                </a:extLst>
              </a:tr>
              <a:tr h="370840">
                <a:tc>
                  <a:txBody>
                    <a:bodyPr/>
                    <a:lstStyle/>
                    <a:p>
                      <a:pPr algn="l" fontAlgn="t"/>
                      <a:r>
                        <a:rPr lang="en-US" sz="1600" dirty="0">
                          <a:effectLst/>
                        </a:rPr>
                        <a:t>Log</a:t>
                      </a:r>
                    </a:p>
                  </a:txBody>
                  <a:tcPr/>
                </a:tc>
                <a:tc>
                  <a:txBody>
                    <a:bodyPr/>
                    <a:lstStyle/>
                    <a:p>
                      <a:pPr algn="l" fontAlgn="t"/>
                      <a:r>
                        <a:rPr lang="en-US" sz="1600" dirty="0">
                          <a:effectLst/>
                        </a:rPr>
                        <a:t>templog</a:t>
                      </a:r>
                    </a:p>
                  </a:txBody>
                  <a:tcPr/>
                </a:tc>
                <a:tc>
                  <a:txBody>
                    <a:bodyPr/>
                    <a:lstStyle/>
                    <a:p>
                      <a:pPr algn="l" fontAlgn="t"/>
                      <a:r>
                        <a:rPr lang="en-US" sz="1600" dirty="0">
                          <a:effectLst/>
                        </a:rPr>
                        <a:t>templog.l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egabytes to a maximum of 2 terabytes</a:t>
                      </a:r>
                    </a:p>
                  </a:txBody>
                  <a:tcPr/>
                </a:tc>
                <a:extLst>
                  <a:ext uri="{0D108BD9-81ED-4DB2-BD59-A6C34878D82A}">
                    <a16:rowId xmlns:a16="http://schemas.microsoft.com/office/drawing/2014/main" val="1064614546"/>
                  </a:ext>
                </a:extLst>
              </a:tr>
            </a:tbl>
          </a:graphicData>
        </a:graphic>
      </p:graphicFrame>
      <p:graphicFrame>
        <p:nvGraphicFramePr>
          <p:cNvPr id="8" name="Diagram 7">
            <a:extLst>
              <a:ext uri="{FF2B5EF4-FFF2-40B4-BE49-F238E27FC236}">
                <a16:creationId xmlns:a16="http://schemas.microsoft.com/office/drawing/2014/main" id="{A7EE6CFF-945F-43A0-998B-B11DE045A313}"/>
              </a:ext>
            </a:extLst>
          </p:cNvPr>
          <p:cNvGraphicFramePr/>
          <p:nvPr>
            <p:extLst>
              <p:ext uri="{D42A27DB-BD31-4B8C-83A1-F6EECF244321}">
                <p14:modId xmlns:p14="http://schemas.microsoft.com/office/powerpoint/2010/main" val="3702866333"/>
              </p:ext>
            </p:extLst>
          </p:nvPr>
        </p:nvGraphicFramePr>
        <p:xfrm>
          <a:off x="655637" y="3931202"/>
          <a:ext cx="10880725" cy="26928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3153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architecture of pages and extent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24530645"/>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2BA8D-B686-4596-A141-0D96C54F1F26}"/>
              </a:ext>
            </a:extLst>
          </p:cNvPr>
          <p:cNvSpPr>
            <a:spLocks noGrp="1"/>
          </p:cNvSpPr>
          <p:nvPr>
            <p:ph type="title"/>
          </p:nvPr>
        </p:nvSpPr>
        <p:spPr/>
        <p:txBody>
          <a:bodyPr/>
          <a:lstStyle/>
          <a:p>
            <a:r>
              <a:rPr lang="en-US" dirty="0"/>
              <a:t>Optimizing TempDB performance</a:t>
            </a:r>
          </a:p>
        </p:txBody>
      </p:sp>
      <p:graphicFrame>
        <p:nvGraphicFramePr>
          <p:cNvPr id="5" name="Content Placeholder 4">
            <a:extLst>
              <a:ext uri="{FF2B5EF4-FFF2-40B4-BE49-F238E27FC236}">
                <a16:creationId xmlns:a16="http://schemas.microsoft.com/office/drawing/2014/main" id="{E2091831-A0CF-4E08-8116-37E2BBC99DB7}"/>
              </a:ext>
            </a:extLst>
          </p:cNvPr>
          <p:cNvGraphicFramePr>
            <a:graphicFrameLocks noGrp="1"/>
          </p:cNvGraphicFramePr>
          <p:nvPr>
            <p:ph sz="quarter" idx="13"/>
            <p:extLst>
              <p:ext uri="{D42A27DB-BD31-4B8C-83A1-F6EECF244321}">
                <p14:modId xmlns:p14="http://schemas.microsoft.com/office/powerpoint/2010/main" val="106630490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473593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DF63D-FDEA-4537-9B4D-DBBC3291D3A4}"/>
              </a:ext>
            </a:extLst>
          </p:cNvPr>
          <p:cNvSpPr>
            <a:spLocks noGrp="1"/>
          </p:cNvSpPr>
          <p:nvPr>
            <p:ph type="title"/>
          </p:nvPr>
        </p:nvSpPr>
        <p:spPr/>
        <p:txBody>
          <a:bodyPr/>
          <a:lstStyle/>
          <a:p>
            <a:r>
              <a:rPr lang="en-US" dirty="0"/>
              <a:t>Performance improvements in TempDB</a:t>
            </a:r>
          </a:p>
        </p:txBody>
      </p:sp>
      <p:sp>
        <p:nvSpPr>
          <p:cNvPr id="7" name="Subtitle 6">
            <a:extLst>
              <a:ext uri="{FF2B5EF4-FFF2-40B4-BE49-F238E27FC236}">
                <a16:creationId xmlns:a16="http://schemas.microsoft.com/office/drawing/2014/main" id="{F6D3F754-0871-4375-8912-DC5691AF18CB}"/>
              </a:ext>
            </a:extLst>
          </p:cNvPr>
          <p:cNvSpPr>
            <a:spLocks noGrp="1"/>
          </p:cNvSpPr>
          <p:nvPr>
            <p:ph type="subTitle" idx="1"/>
          </p:nvPr>
        </p:nvSpPr>
        <p:spPr/>
        <p:txBody>
          <a:bodyPr/>
          <a:lstStyle/>
          <a:p>
            <a:r>
              <a:rPr lang="en-US" dirty="0"/>
              <a:t>Starting with SQL Server 2016 (13.x)</a:t>
            </a:r>
          </a:p>
        </p:txBody>
      </p:sp>
      <p:sp>
        <p:nvSpPr>
          <p:cNvPr id="4" name="Content Placeholder 3">
            <a:extLst>
              <a:ext uri="{FF2B5EF4-FFF2-40B4-BE49-F238E27FC236}">
                <a16:creationId xmlns:a16="http://schemas.microsoft.com/office/drawing/2014/main" id="{04377342-784F-4985-84B3-67FB3795FB37}"/>
              </a:ext>
            </a:extLst>
          </p:cNvPr>
          <p:cNvSpPr>
            <a:spLocks noGrp="1"/>
          </p:cNvSpPr>
          <p:nvPr>
            <p:ph sz="quarter" idx="13"/>
          </p:nvPr>
        </p:nvSpPr>
        <p:spPr>
          <a:xfrm>
            <a:off x="655638" y="2207172"/>
            <a:ext cx="4959716" cy="4020592"/>
          </a:xfrm>
        </p:spPr>
        <p:txBody>
          <a:bodyPr>
            <a:normAutofit/>
          </a:bodyPr>
          <a:lstStyle/>
          <a:p>
            <a:r>
              <a:rPr lang="en-US" dirty="0"/>
              <a:t>Setup adds multiple TempDB data files during instance installation. </a:t>
            </a:r>
          </a:p>
          <a:p>
            <a:r>
              <a:rPr lang="en-US" dirty="0"/>
              <a:t>By default, setup adds as many TempDB data files as the logical processor count or eight, whichever is lower.</a:t>
            </a:r>
          </a:p>
        </p:txBody>
      </p:sp>
      <p:pic>
        <p:nvPicPr>
          <p:cNvPr id="6" name="Picture 1" descr="image001">
            <a:extLst>
              <a:ext uri="{FF2B5EF4-FFF2-40B4-BE49-F238E27FC236}">
                <a16:creationId xmlns:a16="http://schemas.microsoft.com/office/drawing/2014/main" id="{1C9FB71D-4A80-4272-BD4C-C7FA4A461F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0696" y="1548791"/>
            <a:ext cx="5695666" cy="4298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74320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p:txBody>
          <a:bodyPr/>
          <a:lstStyle/>
          <a:p>
            <a:r>
              <a:rPr lang="en-US" b="1" dirty="0"/>
              <a:t>Performance improvements in TempDB</a:t>
            </a:r>
          </a:p>
        </p:txBody>
      </p:sp>
      <p:sp>
        <p:nvSpPr>
          <p:cNvPr id="3" name="Subtitle 2">
            <a:extLst>
              <a:ext uri="{FF2B5EF4-FFF2-40B4-BE49-F238E27FC236}">
                <a16:creationId xmlns:a16="http://schemas.microsoft.com/office/drawing/2014/main" id="{D36BB783-07B8-4AD0-A639-C2D9266F6456}"/>
              </a:ext>
            </a:extLst>
          </p:cNvPr>
          <p:cNvSpPr>
            <a:spLocks noGrp="1"/>
          </p:cNvSpPr>
          <p:nvPr>
            <p:ph type="subTitle" idx="1"/>
          </p:nvPr>
        </p:nvSpPr>
        <p:spPr/>
        <p:txBody>
          <a:bodyPr/>
          <a:lstStyle/>
          <a:p>
            <a:r>
              <a:rPr lang="en-US" dirty="0"/>
              <a:t>Starting with SQL Server 2016 (13.x)</a:t>
            </a:r>
          </a:p>
        </p:txBody>
      </p:sp>
      <p:graphicFrame>
        <p:nvGraphicFramePr>
          <p:cNvPr id="8" name="Content Placeholder 7">
            <a:extLst>
              <a:ext uri="{FF2B5EF4-FFF2-40B4-BE49-F238E27FC236}">
                <a16:creationId xmlns:a16="http://schemas.microsoft.com/office/drawing/2014/main" id="{CCC48916-0DD2-4211-871E-6E8C9B800B6E}"/>
              </a:ext>
            </a:extLst>
          </p:cNvPr>
          <p:cNvGraphicFramePr>
            <a:graphicFrameLocks noGrp="1"/>
          </p:cNvGraphicFramePr>
          <p:nvPr>
            <p:ph sz="quarter" idx="13"/>
            <p:extLst>
              <p:ext uri="{D42A27DB-BD31-4B8C-83A1-F6EECF244321}">
                <p14:modId xmlns:p14="http://schemas.microsoft.com/office/powerpoint/2010/main" val="255658089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534917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p:txBody>
          <a:bodyPr/>
          <a:lstStyle/>
          <a:p>
            <a:r>
              <a:rPr lang="en-US" b="1" dirty="0"/>
              <a:t>Performance improvements in TempDB</a:t>
            </a:r>
          </a:p>
        </p:txBody>
      </p:sp>
      <p:sp>
        <p:nvSpPr>
          <p:cNvPr id="7" name="Subtitle 6">
            <a:extLst>
              <a:ext uri="{FF2B5EF4-FFF2-40B4-BE49-F238E27FC236}">
                <a16:creationId xmlns:a16="http://schemas.microsoft.com/office/drawing/2014/main" id="{39A82CB2-47A7-406B-916A-C228ECD5EC71}"/>
              </a:ext>
            </a:extLst>
          </p:cNvPr>
          <p:cNvSpPr>
            <a:spLocks noGrp="1"/>
          </p:cNvSpPr>
          <p:nvPr>
            <p:ph type="subTitle" idx="1"/>
          </p:nvPr>
        </p:nvSpPr>
        <p:spPr/>
        <p:txBody>
          <a:bodyPr/>
          <a:lstStyle/>
          <a:p>
            <a:r>
              <a:rPr lang="en-US" dirty="0"/>
              <a:t>Starting with SQL Server 2019 (15.x)</a:t>
            </a:r>
          </a:p>
        </p:txBody>
      </p:sp>
      <p:graphicFrame>
        <p:nvGraphicFramePr>
          <p:cNvPr id="6" name="Diagram 5">
            <a:extLst>
              <a:ext uri="{FF2B5EF4-FFF2-40B4-BE49-F238E27FC236}">
                <a16:creationId xmlns:a16="http://schemas.microsoft.com/office/drawing/2014/main" id="{301F672D-67ED-4604-BB6A-C9620676B49E}"/>
              </a:ext>
            </a:extLst>
          </p:cNvPr>
          <p:cNvGraphicFramePr/>
          <p:nvPr>
            <p:extLst>
              <p:ext uri="{D42A27DB-BD31-4B8C-83A1-F6EECF244321}">
                <p14:modId xmlns:p14="http://schemas.microsoft.com/office/powerpoint/2010/main" val="2552493386"/>
              </p:ext>
            </p:extLst>
          </p:nvPr>
        </p:nvGraphicFramePr>
        <p:xfrm>
          <a:off x="647169" y="1408114"/>
          <a:ext cx="10554231"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E381663-C143-481A-950A-70B4E6335EC4}"/>
              </a:ext>
            </a:extLst>
          </p:cNvPr>
          <p:cNvSpPr txBox="1"/>
          <p:nvPr/>
        </p:nvSpPr>
        <p:spPr>
          <a:xfrm>
            <a:off x="2712720" y="4055409"/>
            <a:ext cx="7863840" cy="307777"/>
          </a:xfrm>
          <a:prstGeom prst="rect">
            <a:avLst/>
          </a:prstGeom>
          <a:noFill/>
        </p:spPr>
        <p:txBody>
          <a:bodyPr wrap="square" lIns="0" tIns="0" rIns="0" bIns="0" rtlCol="0">
            <a:spAutoFit/>
          </a:bodyPr>
          <a:lstStyle/>
          <a:p>
            <a:pPr algn="l"/>
            <a:r>
              <a:rPr lang="en-US" sz="2000" b="1" i="0" dirty="0">
                <a:solidFill>
                  <a:srgbClr val="333333"/>
                </a:solidFill>
                <a:effectLst/>
                <a:latin typeface="SegoeUI"/>
                <a:hlinkClick r:id="rId8"/>
              </a:rPr>
              <a:t>TEMPDB Files, Trace Flags, and Updates</a:t>
            </a:r>
            <a:r>
              <a:rPr lang="en-US" sz="2000" b="1" dirty="0">
                <a:solidFill>
                  <a:srgbClr val="333333"/>
                </a:solidFill>
                <a:latin typeface="SegoeUI"/>
                <a:hlinkClick r:id="rId8"/>
              </a:rPr>
              <a:t> by Pam </a:t>
            </a:r>
            <a:r>
              <a:rPr lang="en-US" sz="2000" b="1" dirty="0" err="1">
                <a:solidFill>
                  <a:srgbClr val="333333"/>
                </a:solidFill>
                <a:latin typeface="SegoeUI"/>
                <a:hlinkClick r:id="rId8"/>
              </a:rPr>
              <a:t>Lahoud</a:t>
            </a:r>
            <a:endParaRPr lang="en-US" sz="2000" b="1" i="0" dirty="0">
              <a:solidFill>
                <a:srgbClr val="333333"/>
              </a:solidFill>
              <a:effectLst/>
              <a:latin typeface="SegoeUI"/>
            </a:endParaRPr>
          </a:p>
        </p:txBody>
      </p:sp>
      <p:sp>
        <p:nvSpPr>
          <p:cNvPr id="4" name="TextBox 3">
            <a:extLst>
              <a:ext uri="{FF2B5EF4-FFF2-40B4-BE49-F238E27FC236}">
                <a16:creationId xmlns:a16="http://schemas.microsoft.com/office/drawing/2014/main" id="{963DE041-FF0E-46A2-83B3-A35E71889FEA}"/>
              </a:ext>
            </a:extLst>
          </p:cNvPr>
          <p:cNvSpPr txBox="1"/>
          <p:nvPr/>
        </p:nvSpPr>
        <p:spPr>
          <a:xfrm>
            <a:off x="3210560" y="4600991"/>
            <a:ext cx="6888480" cy="307777"/>
          </a:xfrm>
          <a:prstGeom prst="rect">
            <a:avLst/>
          </a:prstGeom>
          <a:noFill/>
        </p:spPr>
        <p:txBody>
          <a:bodyPr wrap="square" lIns="0" tIns="0" rIns="0" bIns="0" rtlCol="0">
            <a:spAutoFit/>
          </a:bodyPr>
          <a:lstStyle/>
          <a:p>
            <a:r>
              <a:rPr lang="en-US" sz="2000" b="1" i="0" dirty="0">
                <a:effectLst/>
                <a:latin typeface="Roboto" panose="02000000000000000000" pitchFamily="2" charset="0"/>
                <a:hlinkClick r:id="rId9"/>
              </a:rPr>
              <a:t>How (and When) To: Memory Optimized TempDB</a:t>
            </a:r>
            <a:endParaRPr lang="en-US" sz="20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972610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C36D3-A394-47C0-B9C4-01C6A7160087}"/>
              </a:ext>
            </a:extLst>
          </p:cNvPr>
          <p:cNvSpPr>
            <a:spLocks noGrp="1"/>
          </p:cNvSpPr>
          <p:nvPr>
            <p:ph type="title"/>
          </p:nvPr>
        </p:nvSpPr>
        <p:spPr>
          <a:xfrm>
            <a:off x="655638" y="320040"/>
            <a:ext cx="10880725" cy="923330"/>
          </a:xfrm>
        </p:spPr>
        <p:txBody>
          <a:bodyPr/>
          <a:lstStyle/>
          <a:p>
            <a:r>
              <a:rPr lang="en-US" dirty="0"/>
              <a:t>Concurrent PFS, GAM, SGAM updates</a:t>
            </a:r>
            <a:br>
              <a:rPr lang="en-US" dirty="0"/>
            </a:br>
            <a:endParaRPr lang="en-US" dirty="0"/>
          </a:p>
        </p:txBody>
      </p:sp>
      <p:sp>
        <p:nvSpPr>
          <p:cNvPr id="3" name="Subtitle 2">
            <a:extLst>
              <a:ext uri="{FF2B5EF4-FFF2-40B4-BE49-F238E27FC236}">
                <a16:creationId xmlns:a16="http://schemas.microsoft.com/office/drawing/2014/main" id="{B9A5ABA0-0A95-4736-876E-E3E1F85B156E}"/>
              </a:ext>
            </a:extLst>
          </p:cNvPr>
          <p:cNvSpPr>
            <a:spLocks noGrp="1"/>
          </p:cNvSpPr>
          <p:nvPr>
            <p:ph type="subTitle" idx="1"/>
          </p:nvPr>
        </p:nvSpPr>
        <p:spPr/>
        <p:txBody>
          <a:bodyPr/>
          <a:lstStyle/>
          <a:p>
            <a:r>
              <a:rPr lang="en-US" dirty="0"/>
              <a:t>Starting with SQL Server 2019 (15.x), improved in SQL Server 2022 (16.x)</a:t>
            </a:r>
          </a:p>
        </p:txBody>
      </p:sp>
      <p:sp>
        <p:nvSpPr>
          <p:cNvPr id="4" name="Content Placeholder 3">
            <a:extLst>
              <a:ext uri="{FF2B5EF4-FFF2-40B4-BE49-F238E27FC236}">
                <a16:creationId xmlns:a16="http://schemas.microsoft.com/office/drawing/2014/main" id="{DE5845F6-B68B-429D-B0C2-353CF2015E97}"/>
              </a:ext>
            </a:extLst>
          </p:cNvPr>
          <p:cNvSpPr>
            <a:spLocks noGrp="1"/>
          </p:cNvSpPr>
          <p:nvPr>
            <p:ph sz="quarter" idx="13"/>
          </p:nvPr>
        </p:nvSpPr>
        <p:spPr>
          <a:xfrm>
            <a:off x="655638" y="1248048"/>
            <a:ext cx="10880726" cy="4979716"/>
          </a:xfrm>
        </p:spPr>
        <p:txBody>
          <a:bodyPr>
            <a:normAutofit/>
          </a:bodyPr>
          <a:lstStyle/>
          <a:p>
            <a:endParaRPr lang="en-US" dirty="0"/>
          </a:p>
          <a:p>
            <a:endParaRPr lang="en-US" dirty="0"/>
          </a:p>
        </p:txBody>
      </p:sp>
      <p:pic>
        <p:nvPicPr>
          <p:cNvPr id="3074" name="Picture 2">
            <a:extLst>
              <a:ext uri="{FF2B5EF4-FFF2-40B4-BE49-F238E27FC236}">
                <a16:creationId xmlns:a16="http://schemas.microsoft.com/office/drawing/2014/main" id="{08942DD5-B42D-40A5-B37D-D4872B562A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2163" y="2115427"/>
            <a:ext cx="4349561" cy="34140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Diagram 5">
            <a:extLst>
              <a:ext uri="{FF2B5EF4-FFF2-40B4-BE49-F238E27FC236}">
                <a16:creationId xmlns:a16="http://schemas.microsoft.com/office/drawing/2014/main" id="{C3B01580-9A0F-4A26-9DD9-8F1D2DFA6B4E}"/>
              </a:ext>
            </a:extLst>
          </p:cNvPr>
          <p:cNvGraphicFramePr/>
          <p:nvPr>
            <p:extLst>
              <p:ext uri="{D42A27DB-BD31-4B8C-83A1-F6EECF244321}">
                <p14:modId xmlns:p14="http://schemas.microsoft.com/office/powerpoint/2010/main" val="702869833"/>
              </p:ext>
            </p:extLst>
          </p:nvPr>
        </p:nvGraphicFramePr>
        <p:xfrm>
          <a:off x="303224" y="1474112"/>
          <a:ext cx="6286987" cy="48243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Arrow: Curved Left 4">
            <a:extLst>
              <a:ext uri="{FF2B5EF4-FFF2-40B4-BE49-F238E27FC236}">
                <a16:creationId xmlns:a16="http://schemas.microsoft.com/office/drawing/2014/main" id="{199C1D37-45CD-4CA5-BFDE-01F2B71C9D97}"/>
              </a:ext>
            </a:extLst>
          </p:cNvPr>
          <p:cNvSpPr/>
          <p:nvPr/>
        </p:nvSpPr>
        <p:spPr bwMode="auto">
          <a:xfrm>
            <a:off x="7784033" y="2826092"/>
            <a:ext cx="230012" cy="1253156"/>
          </a:xfrm>
          <a:custGeom>
            <a:avLst/>
            <a:gdLst>
              <a:gd name="connsiteX0" fmla="*/ 0 w 218137"/>
              <a:gd name="connsiteY0" fmla="*/ 1193386 h 1247920"/>
              <a:gd name="connsiteX1" fmla="*/ 54534 w 218137"/>
              <a:gd name="connsiteY1" fmla="*/ 1120337 h 1247920"/>
              <a:gd name="connsiteX2" fmla="*/ 54534 w 218137"/>
              <a:gd name="connsiteY2" fmla="*/ 1147604 h 1247920"/>
              <a:gd name="connsiteX3" fmla="*/ 217898 w 218137"/>
              <a:gd name="connsiteY3" fmla="*/ 610327 h 1247920"/>
              <a:gd name="connsiteX4" fmla="*/ 208968 w 218137"/>
              <a:gd name="connsiteY4" fmla="*/ 804859 h 1247920"/>
              <a:gd name="connsiteX5" fmla="*/ 54534 w 218137"/>
              <a:gd name="connsiteY5" fmla="*/ 1202139 h 1247920"/>
              <a:gd name="connsiteX6" fmla="*/ 54534 w 218137"/>
              <a:gd name="connsiteY6" fmla="*/ 1229405 h 1247920"/>
              <a:gd name="connsiteX7" fmla="*/ 0 w 218137"/>
              <a:gd name="connsiteY7" fmla="*/ 1193386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5" fmla="*/ 54534 w 218137"/>
              <a:gd name="connsiteY5" fmla="*/ 1202139 h 1247920"/>
              <a:gd name="connsiteX6" fmla="*/ 54534 w 218137"/>
              <a:gd name="connsiteY6" fmla="*/ 1229405 h 1247920"/>
              <a:gd name="connsiteX7" fmla="*/ 0 w 218137"/>
              <a:gd name="connsiteY7" fmla="*/ 1193386 h 1247920"/>
              <a:gd name="connsiteX8" fmla="*/ 54534 w 218137"/>
              <a:gd name="connsiteY8" fmla="*/ 1120337 h 1247920"/>
              <a:gd name="connsiteX9" fmla="*/ 54534 w 218137"/>
              <a:gd name="connsiteY9" fmla="*/ 1147604 h 1247920"/>
              <a:gd name="connsiteX10" fmla="*/ 217898 w 218137"/>
              <a:gd name="connsiteY10" fmla="*/ 610327 h 1247920"/>
              <a:gd name="connsiteX0" fmla="*/ 11875 w 230012"/>
              <a:gd name="connsiteY0" fmla="*/ 1217137 h 1253156"/>
              <a:gd name="connsiteX1" fmla="*/ 66409 w 230012"/>
              <a:gd name="connsiteY1" fmla="*/ 1144088 h 1253156"/>
              <a:gd name="connsiteX2" fmla="*/ 66409 w 230012"/>
              <a:gd name="connsiteY2" fmla="*/ 1171355 h 1253156"/>
              <a:gd name="connsiteX3" fmla="*/ 229773 w 230012"/>
              <a:gd name="connsiteY3" fmla="*/ 634078 h 1253156"/>
              <a:gd name="connsiteX4" fmla="*/ 220843 w 230012"/>
              <a:gd name="connsiteY4" fmla="*/ 828610 h 1253156"/>
              <a:gd name="connsiteX5" fmla="*/ 66409 w 230012"/>
              <a:gd name="connsiteY5" fmla="*/ 1225890 h 1253156"/>
              <a:gd name="connsiteX6" fmla="*/ 66409 w 230012"/>
              <a:gd name="connsiteY6" fmla="*/ 1253156 h 1253156"/>
              <a:gd name="connsiteX7" fmla="*/ 11875 w 230012"/>
              <a:gd name="connsiteY7" fmla="*/ 1217137 h 1253156"/>
              <a:gd name="connsiteX0" fmla="*/ 230012 w 230012"/>
              <a:gd name="connsiteY0" fmla="*/ 661345 h 1253156"/>
              <a:gd name="connsiteX1" fmla="*/ 11875 w 230012"/>
              <a:gd name="connsiteY1" fmla="*/ 78286 h 1253156"/>
              <a:gd name="connsiteX2" fmla="*/ 11875 w 230012"/>
              <a:gd name="connsiteY2" fmla="*/ 23751 h 1253156"/>
              <a:gd name="connsiteX3" fmla="*/ 230012 w 230012"/>
              <a:gd name="connsiteY3" fmla="*/ 606810 h 1253156"/>
              <a:gd name="connsiteX4" fmla="*/ 230012 w 230012"/>
              <a:gd name="connsiteY4" fmla="*/ 661345 h 1253156"/>
              <a:gd name="connsiteX0" fmla="*/ 230012 w 230012"/>
              <a:gd name="connsiteY0" fmla="*/ 661345 h 1253156"/>
              <a:gd name="connsiteX1" fmla="*/ 11875 w 230012"/>
              <a:gd name="connsiteY1" fmla="*/ 78286 h 1253156"/>
              <a:gd name="connsiteX2" fmla="*/ 0 w 230012"/>
              <a:gd name="connsiteY2" fmla="*/ 0 h 1253156"/>
              <a:gd name="connsiteX3" fmla="*/ 230012 w 230012"/>
              <a:gd name="connsiteY3" fmla="*/ 606810 h 1253156"/>
              <a:gd name="connsiteX4" fmla="*/ 230012 w 230012"/>
              <a:gd name="connsiteY4" fmla="*/ 661345 h 1253156"/>
              <a:gd name="connsiteX5" fmla="*/ 66409 w 230012"/>
              <a:gd name="connsiteY5" fmla="*/ 1225890 h 1253156"/>
              <a:gd name="connsiteX6" fmla="*/ 66409 w 230012"/>
              <a:gd name="connsiteY6" fmla="*/ 1253156 h 1253156"/>
              <a:gd name="connsiteX7" fmla="*/ 11875 w 230012"/>
              <a:gd name="connsiteY7" fmla="*/ 1217137 h 1253156"/>
              <a:gd name="connsiteX8" fmla="*/ 66409 w 230012"/>
              <a:gd name="connsiteY8" fmla="*/ 1144088 h 1253156"/>
              <a:gd name="connsiteX9" fmla="*/ 66409 w 230012"/>
              <a:gd name="connsiteY9" fmla="*/ 1171355 h 1253156"/>
              <a:gd name="connsiteX10" fmla="*/ 229773 w 230012"/>
              <a:gd name="connsiteY10" fmla="*/ 634078 h 125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012" h="1253156" stroke="0" extrusionOk="0">
                <a:moveTo>
                  <a:pt x="11875" y="1217137"/>
                </a:moveTo>
                <a:lnTo>
                  <a:pt x="66409" y="1144088"/>
                </a:lnTo>
                <a:lnTo>
                  <a:pt x="66409" y="1171355"/>
                </a:lnTo>
                <a:cubicBezTo>
                  <a:pt x="159056" y="1107416"/>
                  <a:pt x="225298" y="889556"/>
                  <a:pt x="229773" y="634078"/>
                </a:cubicBezTo>
                <a:cubicBezTo>
                  <a:pt x="230924" y="699804"/>
                  <a:pt x="227905" y="765577"/>
                  <a:pt x="220843" y="828610"/>
                </a:cubicBezTo>
                <a:cubicBezTo>
                  <a:pt x="198934" y="1024167"/>
                  <a:pt x="140357" y="1174856"/>
                  <a:pt x="66409" y="1225890"/>
                </a:cubicBezTo>
                <a:lnTo>
                  <a:pt x="66409" y="1253156"/>
                </a:lnTo>
                <a:lnTo>
                  <a:pt x="11875" y="1217137"/>
                </a:lnTo>
                <a:close/>
              </a:path>
              <a:path w="230012" h="1253156" fill="darkenLess" stroke="0" extrusionOk="0">
                <a:moveTo>
                  <a:pt x="230012" y="661345"/>
                </a:moveTo>
                <a:cubicBezTo>
                  <a:pt x="230012" y="339330"/>
                  <a:pt x="132349" y="78286"/>
                  <a:pt x="11875" y="78286"/>
                </a:cubicBezTo>
                <a:lnTo>
                  <a:pt x="11875" y="23751"/>
                </a:lnTo>
                <a:cubicBezTo>
                  <a:pt x="132349" y="23751"/>
                  <a:pt x="230012" y="284795"/>
                  <a:pt x="230012" y="606810"/>
                </a:cubicBezTo>
                <a:lnTo>
                  <a:pt x="230012" y="661345"/>
                </a:lnTo>
                <a:close/>
              </a:path>
              <a:path w="230012" h="1253156" fill="none" extrusionOk="0">
                <a:moveTo>
                  <a:pt x="230012" y="661345"/>
                </a:moveTo>
                <a:cubicBezTo>
                  <a:pt x="230012" y="339330"/>
                  <a:pt x="132349" y="78286"/>
                  <a:pt x="11875" y="78286"/>
                </a:cubicBezTo>
                <a:cubicBezTo>
                  <a:pt x="11875" y="60108"/>
                  <a:pt x="0" y="18178"/>
                  <a:pt x="0" y="0"/>
                </a:cubicBezTo>
                <a:cubicBezTo>
                  <a:pt x="120474" y="0"/>
                  <a:pt x="230012" y="284795"/>
                  <a:pt x="230012" y="606810"/>
                </a:cubicBezTo>
                <a:lnTo>
                  <a:pt x="230012" y="661345"/>
                </a:lnTo>
                <a:cubicBezTo>
                  <a:pt x="230012" y="927219"/>
                  <a:pt x="162721" y="1159421"/>
                  <a:pt x="66409" y="1225890"/>
                </a:cubicBezTo>
                <a:lnTo>
                  <a:pt x="66409" y="1253156"/>
                </a:lnTo>
                <a:lnTo>
                  <a:pt x="11875" y="1217137"/>
                </a:lnTo>
                <a:lnTo>
                  <a:pt x="66409" y="1144088"/>
                </a:lnTo>
                <a:lnTo>
                  <a:pt x="66409" y="1171355"/>
                </a:lnTo>
                <a:cubicBezTo>
                  <a:pt x="159056" y="1107416"/>
                  <a:pt x="225298" y="889556"/>
                  <a:pt x="229773" y="634078"/>
                </a:cubicBezTo>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Arrow: Curved Left 6">
            <a:extLst>
              <a:ext uri="{FF2B5EF4-FFF2-40B4-BE49-F238E27FC236}">
                <a16:creationId xmlns:a16="http://schemas.microsoft.com/office/drawing/2014/main" id="{F546F847-C1E2-432B-9672-8FEF1B1DA90C}"/>
              </a:ext>
            </a:extLst>
          </p:cNvPr>
          <p:cNvSpPr/>
          <p:nvPr/>
        </p:nvSpPr>
        <p:spPr bwMode="auto">
          <a:xfrm>
            <a:off x="9003105" y="2865678"/>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Arrow: Curved Left 8">
            <a:extLst>
              <a:ext uri="{FF2B5EF4-FFF2-40B4-BE49-F238E27FC236}">
                <a16:creationId xmlns:a16="http://schemas.microsoft.com/office/drawing/2014/main" id="{8BAF0B3E-8880-4E29-9023-FB6E64C06CF2}"/>
              </a:ext>
            </a:extLst>
          </p:cNvPr>
          <p:cNvSpPr/>
          <p:nvPr/>
        </p:nvSpPr>
        <p:spPr bwMode="auto">
          <a:xfrm>
            <a:off x="10147645" y="2865677"/>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Arrow: Curved Left 10">
            <a:extLst>
              <a:ext uri="{FF2B5EF4-FFF2-40B4-BE49-F238E27FC236}">
                <a16:creationId xmlns:a16="http://schemas.microsoft.com/office/drawing/2014/main" id="{AB90A74D-DDA4-47F9-A4A3-4B90E4989047}"/>
              </a:ext>
            </a:extLst>
          </p:cNvPr>
          <p:cNvSpPr/>
          <p:nvPr/>
        </p:nvSpPr>
        <p:spPr bwMode="auto">
          <a:xfrm>
            <a:off x="11318225" y="2865677"/>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Curved Left 12">
            <a:extLst>
              <a:ext uri="{FF2B5EF4-FFF2-40B4-BE49-F238E27FC236}">
                <a16:creationId xmlns:a16="http://schemas.microsoft.com/office/drawing/2014/main" id="{079AB67D-9D24-4A69-8C5E-CFF89CC1610A}"/>
              </a:ext>
            </a:extLst>
          </p:cNvPr>
          <p:cNvSpPr/>
          <p:nvPr/>
        </p:nvSpPr>
        <p:spPr bwMode="auto">
          <a:xfrm>
            <a:off x="7795908" y="4157989"/>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Arrow: Curved Left 14">
            <a:extLst>
              <a:ext uri="{FF2B5EF4-FFF2-40B4-BE49-F238E27FC236}">
                <a16:creationId xmlns:a16="http://schemas.microsoft.com/office/drawing/2014/main" id="{2E4D6710-B994-4DB8-B9DE-B02E31FF76E9}"/>
              </a:ext>
            </a:extLst>
          </p:cNvPr>
          <p:cNvSpPr/>
          <p:nvPr/>
        </p:nvSpPr>
        <p:spPr bwMode="auto">
          <a:xfrm>
            <a:off x="9003105" y="4173823"/>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Arrow: Curved Left 16">
            <a:extLst>
              <a:ext uri="{FF2B5EF4-FFF2-40B4-BE49-F238E27FC236}">
                <a16:creationId xmlns:a16="http://schemas.microsoft.com/office/drawing/2014/main" id="{D798CE7B-EA81-429F-9CE0-82F893051EA7}"/>
              </a:ext>
            </a:extLst>
          </p:cNvPr>
          <p:cNvSpPr/>
          <p:nvPr/>
        </p:nvSpPr>
        <p:spPr bwMode="auto">
          <a:xfrm>
            <a:off x="10147645" y="4173822"/>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Arrow: Curved Left 18">
            <a:extLst>
              <a:ext uri="{FF2B5EF4-FFF2-40B4-BE49-F238E27FC236}">
                <a16:creationId xmlns:a16="http://schemas.microsoft.com/office/drawing/2014/main" id="{BE78BC37-C4ED-4F4C-9231-01B96DD8020A}"/>
              </a:ext>
            </a:extLst>
          </p:cNvPr>
          <p:cNvSpPr/>
          <p:nvPr/>
        </p:nvSpPr>
        <p:spPr bwMode="auto">
          <a:xfrm>
            <a:off x="11318225" y="4173822"/>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Curved Down 24">
            <a:extLst>
              <a:ext uri="{FF2B5EF4-FFF2-40B4-BE49-F238E27FC236}">
                <a16:creationId xmlns:a16="http://schemas.microsoft.com/office/drawing/2014/main" id="{5C9B2E86-DA92-4C1E-AE87-5232948A5F7D}"/>
              </a:ext>
            </a:extLst>
          </p:cNvPr>
          <p:cNvSpPr/>
          <p:nvPr/>
        </p:nvSpPr>
        <p:spPr bwMode="auto">
          <a:xfrm>
            <a:off x="7328246" y="1950683"/>
            <a:ext cx="1143000" cy="257913"/>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Arrow: Curved Down 25">
            <a:extLst>
              <a:ext uri="{FF2B5EF4-FFF2-40B4-BE49-F238E27FC236}">
                <a16:creationId xmlns:a16="http://schemas.microsoft.com/office/drawing/2014/main" id="{A56EDC38-C351-4247-BBB8-724B1C35579B}"/>
              </a:ext>
            </a:extLst>
          </p:cNvPr>
          <p:cNvSpPr/>
          <p:nvPr/>
        </p:nvSpPr>
        <p:spPr bwMode="auto">
          <a:xfrm>
            <a:off x="8535443" y="1954641"/>
            <a:ext cx="1143000" cy="257913"/>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Arrow: Curved Down 27">
            <a:extLst>
              <a:ext uri="{FF2B5EF4-FFF2-40B4-BE49-F238E27FC236}">
                <a16:creationId xmlns:a16="http://schemas.microsoft.com/office/drawing/2014/main" id="{8FFB1CC2-57EF-4DEF-8797-4F2253DA1D5F}"/>
              </a:ext>
            </a:extLst>
          </p:cNvPr>
          <p:cNvSpPr/>
          <p:nvPr/>
        </p:nvSpPr>
        <p:spPr bwMode="auto">
          <a:xfrm>
            <a:off x="9757272" y="1948453"/>
            <a:ext cx="1143000" cy="257913"/>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79632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13"/>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25"/>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15"/>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grpId="0" nodeType="afterEffect">
                                  <p:stCondLst>
                                    <p:cond delay="500"/>
                                  </p:stCondLst>
                                  <p:childTnLst>
                                    <p:set>
                                      <p:cBhvr>
                                        <p:cTn id="21" dur="1" fill="hold">
                                          <p:stCondLst>
                                            <p:cond delay="0"/>
                                          </p:stCondLst>
                                        </p:cTn>
                                        <p:tgtEl>
                                          <p:spTgt spid="26"/>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grpId="0" nodeType="afterEffect">
                                  <p:stCondLst>
                                    <p:cond delay="500"/>
                                  </p:stCondLst>
                                  <p:childTnLst>
                                    <p:set>
                                      <p:cBhvr>
                                        <p:cTn id="24" dur="1" fill="hold">
                                          <p:stCondLst>
                                            <p:cond delay="0"/>
                                          </p:stCondLst>
                                        </p:cTn>
                                        <p:tgtEl>
                                          <p:spTgt spid="9"/>
                                        </p:tgtEl>
                                        <p:attrNameLst>
                                          <p:attrName>style.visibility</p:attrName>
                                        </p:attrNameLst>
                                      </p:cBhvr>
                                      <p:to>
                                        <p:strVal val="visible"/>
                                      </p:to>
                                    </p:set>
                                  </p:childTnLst>
                                </p:cTn>
                              </p:par>
                            </p:childTnLst>
                          </p:cTn>
                        </p:par>
                        <p:par>
                          <p:cTn id="25" fill="hold">
                            <p:stCondLst>
                              <p:cond delay="3000"/>
                            </p:stCondLst>
                            <p:childTnLst>
                              <p:par>
                                <p:cTn id="26" presetID="1" presetClass="entr" presetSubtype="0" fill="hold" grpId="0" nodeType="afterEffect">
                                  <p:stCondLst>
                                    <p:cond delay="500"/>
                                  </p:stCondLst>
                                  <p:childTnLst>
                                    <p:set>
                                      <p:cBhvr>
                                        <p:cTn id="27" dur="1" fill="hold">
                                          <p:stCondLst>
                                            <p:cond delay="0"/>
                                          </p:stCondLst>
                                        </p:cTn>
                                        <p:tgtEl>
                                          <p:spTgt spid="17"/>
                                        </p:tgtEl>
                                        <p:attrNameLst>
                                          <p:attrName>style.visibility</p:attrName>
                                        </p:attrNameLst>
                                      </p:cBhvr>
                                      <p:to>
                                        <p:strVal val="visible"/>
                                      </p:to>
                                    </p:set>
                                  </p:childTnLst>
                                </p:cTn>
                              </p:par>
                            </p:childTnLst>
                          </p:cTn>
                        </p:par>
                        <p:par>
                          <p:cTn id="28" fill="hold">
                            <p:stCondLst>
                              <p:cond delay="3500"/>
                            </p:stCondLst>
                            <p:childTnLst>
                              <p:par>
                                <p:cTn id="29" presetID="1" presetClass="entr" presetSubtype="0" fill="hold" grpId="0" nodeType="afterEffect">
                                  <p:stCondLst>
                                    <p:cond delay="500"/>
                                  </p:stCondLst>
                                  <p:childTnLst>
                                    <p:set>
                                      <p:cBhvr>
                                        <p:cTn id="30" dur="1" fill="hold">
                                          <p:stCondLst>
                                            <p:cond delay="0"/>
                                          </p:stCondLst>
                                        </p:cTn>
                                        <p:tgtEl>
                                          <p:spTgt spid="28"/>
                                        </p:tgtEl>
                                        <p:attrNameLst>
                                          <p:attrName>style.visibility</p:attrName>
                                        </p:attrNameLst>
                                      </p:cBhvr>
                                      <p:to>
                                        <p:strVal val="visible"/>
                                      </p:to>
                                    </p:set>
                                  </p:childTnLst>
                                </p:cTn>
                              </p:par>
                            </p:childTnLst>
                          </p:cTn>
                        </p:par>
                        <p:par>
                          <p:cTn id="31" fill="hold">
                            <p:stCondLst>
                              <p:cond delay="4000"/>
                            </p:stCondLst>
                            <p:childTnLst>
                              <p:par>
                                <p:cTn id="32" presetID="1" presetClass="entr" presetSubtype="0" fill="hold" grpId="0" nodeType="afterEffect">
                                  <p:stCondLst>
                                    <p:cond delay="500"/>
                                  </p:stCondLst>
                                  <p:childTnLst>
                                    <p:set>
                                      <p:cBhvr>
                                        <p:cTn id="33" dur="1" fill="hold">
                                          <p:stCondLst>
                                            <p:cond delay="0"/>
                                          </p:stCondLst>
                                        </p:cTn>
                                        <p:tgtEl>
                                          <p:spTgt spid="11"/>
                                        </p:tgtEl>
                                        <p:attrNameLst>
                                          <p:attrName>style.visibility</p:attrName>
                                        </p:attrNameLst>
                                      </p:cBhvr>
                                      <p:to>
                                        <p:strVal val="visible"/>
                                      </p:to>
                                    </p:set>
                                  </p:childTnLst>
                                </p:cTn>
                              </p:par>
                            </p:childTnLst>
                          </p:cTn>
                        </p:par>
                        <p:par>
                          <p:cTn id="34" fill="hold">
                            <p:stCondLst>
                              <p:cond delay="4500"/>
                            </p:stCondLst>
                            <p:childTnLst>
                              <p:par>
                                <p:cTn id="35" presetID="1" presetClass="entr" presetSubtype="0" fill="hold" grpId="0" nodeType="afterEffect">
                                  <p:stCondLst>
                                    <p:cond delay="500"/>
                                  </p:stCondLst>
                                  <p:childTnLst>
                                    <p:set>
                                      <p:cBhvr>
                                        <p:cTn id="3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P spid="11" grpId="0" animBg="1"/>
      <p:bldP spid="13" grpId="0" animBg="1"/>
      <p:bldP spid="15" grpId="0" animBg="1"/>
      <p:bldP spid="17" grpId="0" animBg="1"/>
      <p:bldP spid="19" grpId="0" animBg="1"/>
      <p:bldP spid="25" grpId="0" animBg="1"/>
      <p:bldP spid="26" grpId="0" animBg="1"/>
      <p:bldP spid="28"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TempDB</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Monitoring and troubleshooting TempDB</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747863857"/>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430644532"/>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398818601"/>
              </p:ext>
            </p:extLst>
          </p:nvPr>
        </p:nvGraphicFramePr>
        <p:xfrm>
          <a:off x="655637" y="1494631"/>
          <a:ext cx="10880725" cy="15533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892854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5: SQL Server Log File Structure</a:t>
            </a:r>
            <a:endParaRPr lang="en-US" dirty="0"/>
          </a:p>
        </p:txBody>
      </p:sp>
    </p:spTree>
    <p:extLst>
      <p:ext uri="{BB962C8B-B14F-4D97-AF65-F5344CB8AC3E}">
        <p14:creationId xmlns:p14="http://schemas.microsoft.com/office/powerpoint/2010/main" val="19459480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log file structure.</a:t>
            </a:r>
          </a:p>
          <a:p>
            <a:r>
              <a:rPr lang="en-US" dirty="0"/>
              <a:t>Explain SQL Server logging proces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849063011"/>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ages and Extents architecture</a:t>
            </a:r>
          </a:p>
        </p:txBody>
      </p:sp>
      <p:graphicFrame>
        <p:nvGraphicFramePr>
          <p:cNvPr id="3" name="Content Placeholder 2">
            <a:extLst>
              <a:ext uri="{FF2B5EF4-FFF2-40B4-BE49-F238E27FC236}">
                <a16:creationId xmlns:a16="http://schemas.microsoft.com/office/drawing/2014/main" id="{6627BE03-59EF-EE4E-0B39-C1C482D5C0BA}"/>
              </a:ext>
            </a:extLst>
          </p:cNvPr>
          <p:cNvGraphicFramePr>
            <a:graphicFrameLocks noGrp="1"/>
          </p:cNvGraphicFramePr>
          <p:nvPr>
            <p:ph sz="quarter" idx="13"/>
            <p:extLst>
              <p:ext uri="{D42A27DB-BD31-4B8C-83A1-F6EECF244321}">
                <p14:modId xmlns:p14="http://schemas.microsoft.com/office/powerpoint/2010/main" val="3857222018"/>
              </p:ext>
            </p:extLst>
          </p:nvPr>
        </p:nvGraphicFramePr>
        <p:xfrm>
          <a:off x="655638" y="1243014"/>
          <a:ext cx="7421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B5C1AD8E-CF3A-2B2E-E79B-2FE70AD4BDCD}"/>
              </a:ext>
            </a:extLst>
          </p:cNvPr>
          <p:cNvPicPr>
            <a:picLocks noChangeAspect="1"/>
          </p:cNvPicPr>
          <p:nvPr/>
        </p:nvPicPr>
        <p:blipFill>
          <a:blip r:embed="rId8"/>
          <a:stretch>
            <a:fillRect/>
          </a:stretch>
        </p:blipFill>
        <p:spPr>
          <a:xfrm>
            <a:off x="8275789" y="2249424"/>
            <a:ext cx="3839527" cy="3279874"/>
          </a:xfrm>
          <a:prstGeom prst="rect">
            <a:avLst/>
          </a:prstGeom>
        </p:spPr>
      </p:pic>
    </p:spTree>
    <p:extLst>
      <p:ext uri="{BB962C8B-B14F-4D97-AF65-F5344CB8AC3E}">
        <p14:creationId xmlns:p14="http://schemas.microsoft.com/office/powerpoint/2010/main" val="25516465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E84C9-8B30-41BB-A3D5-77E5D711D013}"/>
              </a:ext>
            </a:extLst>
          </p:cNvPr>
          <p:cNvSpPr>
            <a:spLocks noGrp="1"/>
          </p:cNvSpPr>
          <p:nvPr>
            <p:ph type="title"/>
          </p:nvPr>
        </p:nvSpPr>
        <p:spPr/>
        <p:txBody>
          <a:bodyPr/>
          <a:lstStyle/>
          <a:p>
            <a:r>
              <a:rPr lang="en-US" dirty="0"/>
              <a:t>SQL Server disk I/O patterns: transaction log</a:t>
            </a:r>
          </a:p>
        </p:txBody>
      </p:sp>
      <p:graphicFrame>
        <p:nvGraphicFramePr>
          <p:cNvPr id="7" name="Content Placeholder 6">
            <a:extLst>
              <a:ext uri="{FF2B5EF4-FFF2-40B4-BE49-F238E27FC236}">
                <a16:creationId xmlns:a16="http://schemas.microsoft.com/office/drawing/2014/main" id="{881C9504-9679-4FA3-9D14-33E3F4FADA90}"/>
              </a:ext>
            </a:extLst>
          </p:cNvPr>
          <p:cNvGraphicFramePr>
            <a:graphicFrameLocks noGrp="1"/>
          </p:cNvGraphicFramePr>
          <p:nvPr>
            <p:ph sz="quarter" idx="13"/>
            <p:extLst>
              <p:ext uri="{D42A27DB-BD31-4B8C-83A1-F6EECF244321}">
                <p14:modId xmlns:p14="http://schemas.microsoft.com/office/powerpoint/2010/main" val="1306606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FEF3C806-344F-4F8E-8683-15A730131214}"/>
              </a:ext>
            </a:extLst>
          </p:cNvPr>
          <p:cNvGraphicFramePr/>
          <p:nvPr>
            <p:extLst>
              <p:ext uri="{D42A27DB-BD31-4B8C-83A1-F6EECF244321}">
                <p14:modId xmlns:p14="http://schemas.microsoft.com/office/powerpoint/2010/main" val="2094830734"/>
              </p:ext>
            </p:extLst>
          </p:nvPr>
        </p:nvGraphicFramePr>
        <p:xfrm>
          <a:off x="655637" y="6071617"/>
          <a:ext cx="10698162" cy="6001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5037718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D4DB0-F727-42CD-BB55-06368E4BD1DA}"/>
              </a:ext>
            </a:extLst>
          </p:cNvPr>
          <p:cNvSpPr>
            <a:spLocks noGrp="1"/>
          </p:cNvSpPr>
          <p:nvPr>
            <p:ph type="title"/>
          </p:nvPr>
        </p:nvSpPr>
        <p:spPr/>
        <p:txBody>
          <a:bodyPr/>
          <a:lstStyle/>
          <a:p>
            <a:r>
              <a:rPr lang="en-US" dirty="0"/>
              <a:t>Transaction Log</a:t>
            </a:r>
          </a:p>
        </p:txBody>
      </p:sp>
      <p:graphicFrame>
        <p:nvGraphicFramePr>
          <p:cNvPr id="6" name="Content Placeholder 5">
            <a:extLst>
              <a:ext uri="{FF2B5EF4-FFF2-40B4-BE49-F238E27FC236}">
                <a16:creationId xmlns:a16="http://schemas.microsoft.com/office/drawing/2014/main" id="{7F0E37CA-36B5-4A4B-9588-5AFF7E11045C}"/>
              </a:ext>
            </a:extLst>
          </p:cNvPr>
          <p:cNvGraphicFramePr>
            <a:graphicFrameLocks noGrp="1"/>
          </p:cNvGraphicFramePr>
          <p:nvPr>
            <p:ph sz="quarter" idx="13"/>
            <p:extLst>
              <p:ext uri="{D42A27DB-BD31-4B8C-83A1-F6EECF244321}">
                <p14:modId xmlns:p14="http://schemas.microsoft.com/office/powerpoint/2010/main" val="2229462008"/>
              </p:ext>
            </p:extLst>
          </p:nvPr>
        </p:nvGraphicFramePr>
        <p:xfrm>
          <a:off x="655638" y="90849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33874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41FE1-60B1-41C8-A0BC-64AE4EFCFD1B}"/>
              </a:ext>
            </a:extLst>
          </p:cNvPr>
          <p:cNvSpPr>
            <a:spLocks noGrp="1"/>
          </p:cNvSpPr>
          <p:nvPr>
            <p:ph type="title"/>
          </p:nvPr>
        </p:nvSpPr>
        <p:spPr/>
        <p:txBody>
          <a:bodyPr/>
          <a:lstStyle/>
          <a:p>
            <a:r>
              <a:rPr lang="en-US" dirty="0"/>
              <a:t>Microsoft SQL Server Transaction Logging</a:t>
            </a:r>
          </a:p>
        </p:txBody>
      </p:sp>
      <p:sp>
        <p:nvSpPr>
          <p:cNvPr id="5" name="Rectangle 4">
            <a:extLst>
              <a:ext uri="{FF2B5EF4-FFF2-40B4-BE49-F238E27FC236}">
                <a16:creationId xmlns:a16="http://schemas.microsoft.com/office/drawing/2014/main" id="{9B97426A-153E-46C2-8CEC-05868B9FE9CF}"/>
              </a:ext>
            </a:extLst>
          </p:cNvPr>
          <p:cNvSpPr/>
          <p:nvPr/>
        </p:nvSpPr>
        <p:spPr>
          <a:xfrm>
            <a:off x="609600" y="15240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cord the Begin Transaction in the Log Buffer</a:t>
            </a:r>
          </a:p>
        </p:txBody>
      </p:sp>
      <p:sp>
        <p:nvSpPr>
          <p:cNvPr id="6" name="Rectangle 5">
            <a:extLst>
              <a:ext uri="{FF2B5EF4-FFF2-40B4-BE49-F238E27FC236}">
                <a16:creationId xmlns:a16="http://schemas.microsoft.com/office/drawing/2014/main" id="{E6F4AC5D-AC66-4330-88B9-77C10E11FA7E}"/>
              </a:ext>
            </a:extLst>
          </p:cNvPr>
          <p:cNvSpPr/>
          <p:nvPr/>
        </p:nvSpPr>
        <p:spPr>
          <a:xfrm>
            <a:off x="4254500" y="15240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Log the DML operation in the Log Buffer (INS/UPD/DEL)</a:t>
            </a:r>
          </a:p>
        </p:txBody>
      </p:sp>
      <p:sp>
        <p:nvSpPr>
          <p:cNvPr id="7" name="Rectangle 6">
            <a:extLst>
              <a:ext uri="{FF2B5EF4-FFF2-40B4-BE49-F238E27FC236}">
                <a16:creationId xmlns:a16="http://schemas.microsoft.com/office/drawing/2014/main" id="{5B6A85A9-3891-4A96-B959-8C80427FE877}"/>
              </a:ext>
            </a:extLst>
          </p:cNvPr>
          <p:cNvSpPr/>
          <p:nvPr/>
        </p:nvSpPr>
        <p:spPr>
          <a:xfrm>
            <a:off x="8051800" y="1409700"/>
            <a:ext cx="3733800" cy="14478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ad the Data/Index Pages and perform the operation in memory. </a:t>
            </a:r>
          </a:p>
        </p:txBody>
      </p:sp>
      <p:sp>
        <p:nvSpPr>
          <p:cNvPr id="8" name="Rectangle 7">
            <a:extLst>
              <a:ext uri="{FF2B5EF4-FFF2-40B4-BE49-F238E27FC236}">
                <a16:creationId xmlns:a16="http://schemas.microsoft.com/office/drawing/2014/main" id="{0D24F656-D0F8-44D3-BECA-25BAADBDEECB}"/>
              </a:ext>
            </a:extLst>
          </p:cNvPr>
          <p:cNvSpPr/>
          <p:nvPr/>
        </p:nvSpPr>
        <p:spPr>
          <a:xfrm>
            <a:off x="4849076" y="3609399"/>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Commit the Transaction </a:t>
            </a:r>
          </a:p>
        </p:txBody>
      </p:sp>
      <p:sp>
        <p:nvSpPr>
          <p:cNvPr id="9" name="Rectangle 8">
            <a:extLst>
              <a:ext uri="{FF2B5EF4-FFF2-40B4-BE49-F238E27FC236}">
                <a16:creationId xmlns:a16="http://schemas.microsoft.com/office/drawing/2014/main" id="{590A5D84-62C7-462A-8919-4B755385B034}"/>
              </a:ext>
            </a:extLst>
          </p:cNvPr>
          <p:cNvSpPr/>
          <p:nvPr/>
        </p:nvSpPr>
        <p:spPr>
          <a:xfrm>
            <a:off x="801817" y="3825212"/>
            <a:ext cx="2641600" cy="788723"/>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port the transaction success to the user</a:t>
            </a:r>
          </a:p>
        </p:txBody>
      </p:sp>
      <p:sp>
        <p:nvSpPr>
          <p:cNvPr id="10" name="Rectangle 9">
            <a:extLst>
              <a:ext uri="{FF2B5EF4-FFF2-40B4-BE49-F238E27FC236}">
                <a16:creationId xmlns:a16="http://schemas.microsoft.com/office/drawing/2014/main" id="{935F65DA-6D32-4690-AE5F-7A9BADD6E400}"/>
              </a:ext>
            </a:extLst>
          </p:cNvPr>
          <p:cNvSpPr/>
          <p:nvPr/>
        </p:nvSpPr>
        <p:spPr>
          <a:xfrm>
            <a:off x="7899400" y="5559285"/>
            <a:ext cx="2641600" cy="780277"/>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ollback the transaction</a:t>
            </a:r>
          </a:p>
        </p:txBody>
      </p:sp>
      <p:cxnSp>
        <p:nvCxnSpPr>
          <p:cNvPr id="11" name="Elbow Connector 47">
            <a:extLst>
              <a:ext uri="{FF2B5EF4-FFF2-40B4-BE49-F238E27FC236}">
                <a16:creationId xmlns:a16="http://schemas.microsoft.com/office/drawing/2014/main" id="{B8F23743-0035-498E-9C31-9C66F65F92D2}"/>
              </a:ext>
            </a:extLst>
          </p:cNvPr>
          <p:cNvCxnSpPr>
            <a:stCxn id="15" idx="2"/>
            <a:endCxn id="10" idx="0"/>
          </p:cNvCxnSpPr>
          <p:nvPr/>
        </p:nvCxnSpPr>
        <p:spPr>
          <a:xfrm rot="5400000">
            <a:off x="9219558" y="4829241"/>
            <a:ext cx="730686" cy="729402"/>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2" name="Elbow Connector 47">
            <a:extLst>
              <a:ext uri="{FF2B5EF4-FFF2-40B4-BE49-F238E27FC236}">
                <a16:creationId xmlns:a16="http://schemas.microsoft.com/office/drawing/2014/main" id="{F5FB175A-6D8E-4D6C-97C1-778B426B304C}"/>
              </a:ext>
            </a:extLst>
          </p:cNvPr>
          <p:cNvCxnSpPr>
            <a:stCxn id="5" idx="3"/>
            <a:endCxn id="6" idx="1"/>
          </p:cNvCxnSpPr>
          <p:nvPr/>
        </p:nvCxnSpPr>
        <p:spPr>
          <a:xfrm>
            <a:off x="3251200" y="2133600"/>
            <a:ext cx="10033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3" name="Elbow Connector 47">
            <a:extLst>
              <a:ext uri="{FF2B5EF4-FFF2-40B4-BE49-F238E27FC236}">
                <a16:creationId xmlns:a16="http://schemas.microsoft.com/office/drawing/2014/main" id="{4D259B7D-EECE-424C-98E0-0C4B78CAF69A}"/>
              </a:ext>
            </a:extLst>
          </p:cNvPr>
          <p:cNvCxnSpPr>
            <a:stCxn id="6" idx="3"/>
            <a:endCxn id="7" idx="1"/>
          </p:cNvCxnSpPr>
          <p:nvPr/>
        </p:nvCxnSpPr>
        <p:spPr>
          <a:xfrm>
            <a:off x="6896100" y="2133600"/>
            <a:ext cx="11557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4" name="Elbow Connector 47">
            <a:extLst>
              <a:ext uri="{FF2B5EF4-FFF2-40B4-BE49-F238E27FC236}">
                <a16:creationId xmlns:a16="http://schemas.microsoft.com/office/drawing/2014/main" id="{5B82A3F1-1691-45D9-B64B-26FE8C8E6963}"/>
              </a:ext>
            </a:extLst>
          </p:cNvPr>
          <p:cNvCxnSpPr>
            <a:stCxn id="8" idx="1"/>
            <a:endCxn id="9" idx="3"/>
          </p:cNvCxnSpPr>
          <p:nvPr/>
        </p:nvCxnSpPr>
        <p:spPr>
          <a:xfrm flipH="1">
            <a:off x="3443417" y="4218999"/>
            <a:ext cx="1405659" cy="575"/>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15" name="Rectangle 14">
            <a:extLst>
              <a:ext uri="{FF2B5EF4-FFF2-40B4-BE49-F238E27FC236}">
                <a16:creationId xmlns:a16="http://schemas.microsoft.com/office/drawing/2014/main" id="{0BFAA888-F90A-43FC-9213-5A8AEE4A2BFC}"/>
              </a:ext>
            </a:extLst>
          </p:cNvPr>
          <p:cNvSpPr/>
          <p:nvPr/>
        </p:nvSpPr>
        <p:spPr>
          <a:xfrm>
            <a:off x="8628802" y="3591498"/>
            <a:ext cx="2641600" cy="1237101"/>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Flush to LDF</a:t>
            </a:r>
          </a:p>
        </p:txBody>
      </p:sp>
      <p:cxnSp>
        <p:nvCxnSpPr>
          <p:cNvPr id="16" name="Elbow Connector 47">
            <a:extLst>
              <a:ext uri="{FF2B5EF4-FFF2-40B4-BE49-F238E27FC236}">
                <a16:creationId xmlns:a16="http://schemas.microsoft.com/office/drawing/2014/main" id="{C6A816FB-4506-42A8-B9B4-0D61FA664A04}"/>
              </a:ext>
            </a:extLst>
          </p:cNvPr>
          <p:cNvCxnSpPr/>
          <p:nvPr/>
        </p:nvCxnSpPr>
        <p:spPr>
          <a:xfrm>
            <a:off x="9953346" y="2811333"/>
            <a:ext cx="0" cy="808167"/>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7" name="Elbow Connector 47">
            <a:extLst>
              <a:ext uri="{FF2B5EF4-FFF2-40B4-BE49-F238E27FC236}">
                <a16:creationId xmlns:a16="http://schemas.microsoft.com/office/drawing/2014/main" id="{F5FA547C-D5A7-4C65-82FC-E0376BB86261}"/>
              </a:ext>
            </a:extLst>
          </p:cNvPr>
          <p:cNvCxnSpPr>
            <a:cxnSpLocks/>
            <a:stCxn id="15" idx="1"/>
            <a:endCxn id="8" idx="3"/>
          </p:cNvCxnSpPr>
          <p:nvPr/>
        </p:nvCxnSpPr>
        <p:spPr>
          <a:xfrm flipH="1">
            <a:off x="7490676" y="4210049"/>
            <a:ext cx="1138126" cy="895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18" name="TextBox 17">
            <a:extLst>
              <a:ext uri="{FF2B5EF4-FFF2-40B4-BE49-F238E27FC236}">
                <a16:creationId xmlns:a16="http://schemas.microsoft.com/office/drawing/2014/main" id="{6E0A38D3-AC08-4215-A42E-BC479BEA7B80}"/>
              </a:ext>
            </a:extLst>
          </p:cNvPr>
          <p:cNvSpPr txBox="1"/>
          <p:nvPr/>
        </p:nvSpPr>
        <p:spPr>
          <a:xfrm>
            <a:off x="11506200" y="5029200"/>
            <a:ext cx="184731"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19" name="TextBox 18">
            <a:extLst>
              <a:ext uri="{FF2B5EF4-FFF2-40B4-BE49-F238E27FC236}">
                <a16:creationId xmlns:a16="http://schemas.microsoft.com/office/drawing/2014/main" id="{926100A6-FC18-41C4-BB2E-5D31DAE8F403}"/>
              </a:ext>
            </a:extLst>
          </p:cNvPr>
          <p:cNvSpPr txBox="1"/>
          <p:nvPr/>
        </p:nvSpPr>
        <p:spPr>
          <a:xfrm>
            <a:off x="6995790" y="3106719"/>
            <a:ext cx="2353529"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If Log Flush Succeeds</a:t>
            </a:r>
          </a:p>
        </p:txBody>
      </p:sp>
      <p:sp>
        <p:nvSpPr>
          <p:cNvPr id="20" name="TextBox 19">
            <a:extLst>
              <a:ext uri="{FF2B5EF4-FFF2-40B4-BE49-F238E27FC236}">
                <a16:creationId xmlns:a16="http://schemas.microsoft.com/office/drawing/2014/main" id="{70A5EA4B-FD33-478F-9CD7-02E83D8CC356}"/>
              </a:ext>
            </a:extLst>
          </p:cNvPr>
          <p:cNvSpPr txBox="1"/>
          <p:nvPr/>
        </p:nvSpPr>
        <p:spPr>
          <a:xfrm>
            <a:off x="9572636" y="5189645"/>
            <a:ext cx="1841594"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If Log Flush Fails</a:t>
            </a:r>
          </a:p>
        </p:txBody>
      </p:sp>
    </p:spTree>
    <p:extLst>
      <p:ext uri="{BB962C8B-B14F-4D97-AF65-F5344CB8AC3E}">
        <p14:creationId xmlns:p14="http://schemas.microsoft.com/office/powerpoint/2010/main" val="3473839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5" grpId="0" animBg="1"/>
      <p:bldP spid="19" grpId="0"/>
      <p:bldP spid="20"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E1A561-D6B6-47D7-A3CF-DF231A506A02}"/>
              </a:ext>
            </a:extLst>
          </p:cNvPr>
          <p:cNvPicPr>
            <a:picLocks noChangeAspect="1"/>
          </p:cNvPicPr>
          <p:nvPr/>
        </p:nvPicPr>
        <p:blipFill>
          <a:blip r:embed="rId3"/>
          <a:stretch>
            <a:fillRect/>
          </a:stretch>
        </p:blipFill>
        <p:spPr>
          <a:xfrm>
            <a:off x="5299368" y="1408114"/>
            <a:ext cx="6394589" cy="4525961"/>
          </a:xfrm>
          <a:prstGeom prst="rect">
            <a:avLst/>
          </a:prstGeom>
          <a:solidFill>
            <a:schemeClr val="accent1">
              <a:lumMod val="60000"/>
              <a:lumOff val="40000"/>
            </a:schemeClr>
          </a:solidFill>
        </p:spPr>
      </p:pic>
      <p:sp>
        <p:nvSpPr>
          <p:cNvPr id="2" name="Title 1">
            <a:extLst>
              <a:ext uri="{FF2B5EF4-FFF2-40B4-BE49-F238E27FC236}">
                <a16:creationId xmlns:a16="http://schemas.microsoft.com/office/drawing/2014/main" id="{DF0EF99E-7833-478B-AFB6-53D15EC85F31}"/>
              </a:ext>
            </a:extLst>
          </p:cNvPr>
          <p:cNvSpPr>
            <a:spLocks noGrp="1"/>
          </p:cNvSpPr>
          <p:nvPr>
            <p:ph type="title"/>
          </p:nvPr>
        </p:nvSpPr>
        <p:spPr/>
        <p:txBody>
          <a:bodyPr/>
          <a:lstStyle/>
          <a:p>
            <a:r>
              <a:rPr lang="en-US" dirty="0"/>
              <a:t>Page LSN and recovery</a:t>
            </a:r>
          </a:p>
        </p:txBody>
      </p:sp>
      <p:sp>
        <p:nvSpPr>
          <p:cNvPr id="4" name="Content Placeholder 3">
            <a:extLst>
              <a:ext uri="{FF2B5EF4-FFF2-40B4-BE49-F238E27FC236}">
                <a16:creationId xmlns:a16="http://schemas.microsoft.com/office/drawing/2014/main" id="{A917FD24-2EAC-48F0-BAF8-082E2FA65575}"/>
              </a:ext>
            </a:extLst>
          </p:cNvPr>
          <p:cNvSpPr>
            <a:spLocks noGrp="1"/>
          </p:cNvSpPr>
          <p:nvPr>
            <p:ph sz="quarter" idx="13"/>
          </p:nvPr>
        </p:nvSpPr>
        <p:spPr/>
        <p:txBody>
          <a:bodyPr/>
          <a:lstStyle/>
          <a:p>
            <a:r>
              <a:rPr lang="en-US" dirty="0"/>
              <a:t>Last LSN in the page header</a:t>
            </a:r>
          </a:p>
          <a:p>
            <a:r>
              <a:rPr lang="en-US" dirty="0"/>
              <a:t>Log Record has two LSNs</a:t>
            </a:r>
          </a:p>
          <a:p>
            <a:pPr lvl="1"/>
            <a:r>
              <a:rPr lang="en-US" dirty="0"/>
              <a:t>Previous LSN from the data page</a:t>
            </a:r>
          </a:p>
          <a:p>
            <a:pPr lvl="1"/>
            <a:r>
              <a:rPr lang="en-US" dirty="0"/>
              <a:t>Current log record LSN</a:t>
            </a:r>
          </a:p>
          <a:p>
            <a:r>
              <a:rPr lang="en-US" dirty="0"/>
              <a:t>All used for recovery</a:t>
            </a:r>
          </a:p>
          <a:p>
            <a:endParaRPr lang="en-US" dirty="0"/>
          </a:p>
          <a:p>
            <a:endParaRPr lang="en-US" dirty="0"/>
          </a:p>
        </p:txBody>
      </p:sp>
    </p:spTree>
    <p:extLst>
      <p:ext uri="{BB962C8B-B14F-4D97-AF65-F5344CB8AC3E}">
        <p14:creationId xmlns:p14="http://schemas.microsoft.com/office/powerpoint/2010/main" val="13007623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943CA-FA7C-4DEA-88B5-B372CD452089}"/>
              </a:ext>
            </a:extLst>
          </p:cNvPr>
          <p:cNvSpPr>
            <a:spLocks noGrp="1"/>
          </p:cNvSpPr>
          <p:nvPr>
            <p:ph type="title"/>
          </p:nvPr>
        </p:nvSpPr>
        <p:spPr/>
        <p:txBody>
          <a:bodyPr/>
          <a:lstStyle/>
          <a:p>
            <a:r>
              <a:rPr lang="en-US" dirty="0"/>
              <a:t>Physical Log File Structure</a:t>
            </a:r>
          </a:p>
        </p:txBody>
      </p:sp>
      <p:sp>
        <p:nvSpPr>
          <p:cNvPr id="4" name="Content Placeholder 3">
            <a:extLst>
              <a:ext uri="{FF2B5EF4-FFF2-40B4-BE49-F238E27FC236}">
                <a16:creationId xmlns:a16="http://schemas.microsoft.com/office/drawing/2014/main" id="{F8DD0E4E-51B5-40C3-BB52-CF0E5591B6C3}"/>
              </a:ext>
            </a:extLst>
          </p:cNvPr>
          <p:cNvSpPr>
            <a:spLocks noGrp="1"/>
          </p:cNvSpPr>
          <p:nvPr>
            <p:ph sz="quarter" idx="13"/>
          </p:nvPr>
        </p:nvSpPr>
        <p:spPr>
          <a:xfrm>
            <a:off x="610610" y="1214136"/>
            <a:ext cx="10880726" cy="4819650"/>
          </a:xfrm>
        </p:spPr>
        <p:txBody>
          <a:bodyPr/>
          <a:lstStyle/>
          <a:p>
            <a:r>
              <a:rPr lang="en-US" dirty="0"/>
              <a:t>The physical file is divided into virtual log files (VLFs).</a:t>
            </a:r>
          </a:p>
          <a:p>
            <a:r>
              <a:rPr lang="en-US" dirty="0"/>
              <a:t>SQL Server works to keep the number of VLFs small.</a:t>
            </a:r>
          </a:p>
          <a:p>
            <a:r>
              <a:rPr lang="en-US" dirty="0"/>
              <a:t>VLF size and number is dynamic and cannot be configured or set.</a:t>
            </a:r>
          </a:p>
          <a:p>
            <a:r>
              <a:rPr lang="en-US" dirty="0"/>
              <a:t>Log file is circular. When the end of logical log meets the beginning, the physical log file is extended.</a:t>
            </a:r>
          </a:p>
          <a:p>
            <a:endParaRPr lang="en-US" dirty="0"/>
          </a:p>
          <a:p>
            <a:endParaRPr lang="en-US" dirty="0"/>
          </a:p>
        </p:txBody>
      </p:sp>
      <p:grpSp>
        <p:nvGrpSpPr>
          <p:cNvPr id="3" name="Group 2">
            <a:extLst>
              <a:ext uri="{FF2B5EF4-FFF2-40B4-BE49-F238E27FC236}">
                <a16:creationId xmlns:a16="http://schemas.microsoft.com/office/drawing/2014/main" id="{29F88B28-F531-5547-255B-EF08F34240BC}"/>
              </a:ext>
            </a:extLst>
          </p:cNvPr>
          <p:cNvGrpSpPr/>
          <p:nvPr/>
        </p:nvGrpSpPr>
        <p:grpSpPr>
          <a:xfrm>
            <a:off x="1903268" y="3429000"/>
            <a:ext cx="8385463" cy="3075709"/>
            <a:chOff x="3352800" y="2819400"/>
            <a:chExt cx="8458200" cy="3505200"/>
          </a:xfrm>
        </p:grpSpPr>
        <p:sp>
          <p:nvSpPr>
            <p:cNvPr id="5" name="Rectangle 4">
              <a:extLst>
                <a:ext uri="{FF2B5EF4-FFF2-40B4-BE49-F238E27FC236}">
                  <a16:creationId xmlns:a16="http://schemas.microsoft.com/office/drawing/2014/main" id="{7B5A6322-6A5D-2337-1124-821927C710C6}"/>
                </a:ext>
              </a:extLst>
            </p:cNvPr>
            <p:cNvSpPr/>
            <p:nvPr/>
          </p:nvSpPr>
          <p:spPr>
            <a:xfrm>
              <a:off x="3352800" y="2819400"/>
              <a:ext cx="8458200" cy="3505200"/>
            </a:xfrm>
            <a:prstGeom prst="rect">
              <a:avLst/>
            </a:prstGeom>
            <a:solidFill>
              <a:sysClr val="window" lastClr="FFFFFF"/>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79A7732-C28C-CBCE-8336-3E809FAD5AAF}"/>
                </a:ext>
              </a:extLst>
            </p:cNvPr>
            <p:cNvGrpSpPr/>
            <p:nvPr/>
          </p:nvGrpSpPr>
          <p:grpSpPr>
            <a:xfrm>
              <a:off x="4107541" y="3395246"/>
              <a:ext cx="7474859" cy="2700754"/>
              <a:chOff x="1059541" y="3429000"/>
              <a:chExt cx="7474859" cy="2700754"/>
            </a:xfrm>
          </p:grpSpPr>
          <p:grpSp>
            <p:nvGrpSpPr>
              <p:cNvPr id="7" name="Group 6">
                <a:extLst>
                  <a:ext uri="{FF2B5EF4-FFF2-40B4-BE49-F238E27FC236}">
                    <a16:creationId xmlns:a16="http://schemas.microsoft.com/office/drawing/2014/main" id="{7D8E4266-AB85-D09E-B97C-991F1D369037}"/>
                  </a:ext>
                </a:extLst>
              </p:cNvPr>
              <p:cNvGrpSpPr/>
              <p:nvPr/>
            </p:nvGrpSpPr>
            <p:grpSpPr>
              <a:xfrm>
                <a:off x="1059541" y="3767554"/>
                <a:ext cx="7024920" cy="891531"/>
                <a:chOff x="783767" y="3778440"/>
                <a:chExt cx="7024920" cy="891531"/>
              </a:xfrm>
            </p:grpSpPr>
            <p:sp>
              <p:nvSpPr>
                <p:cNvPr id="50" name="Rectangle 49">
                  <a:extLst>
                    <a:ext uri="{FF2B5EF4-FFF2-40B4-BE49-F238E27FC236}">
                      <a16:creationId xmlns:a16="http://schemas.microsoft.com/office/drawing/2014/main" id="{439AEABF-EAA4-D470-C79F-663CBEEDF6ED}"/>
                    </a:ext>
                  </a:extLst>
                </p:cNvPr>
                <p:cNvSpPr/>
                <p:nvPr/>
              </p:nvSpPr>
              <p:spPr>
                <a:xfrm>
                  <a:off x="2547254" y="3789325"/>
                  <a:ext cx="1756230" cy="880646"/>
                </a:xfrm>
                <a:prstGeom prst="rect">
                  <a:avLst/>
                </a:prstGeom>
                <a:solidFill>
                  <a:srgbClr val="129038"/>
                </a:solidFill>
                <a:ln w="25400" cap="flat" cmpd="sng" algn="ctr">
                  <a:solidFill>
                    <a:srgbClr val="15AEEF"/>
                  </a:solidFill>
                  <a:prstDash val="solid"/>
                </a:ln>
                <a:effectLst>
                  <a:outerShdw blurRad="40005" dist="20320" dir="5400000" algn="ctr" rotWithShape="0">
                    <a:sysClr val="window" lastClr="FFFFFF">
                      <a:alpha val="38000"/>
                    </a:sys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1" name="Rectangle 50">
                  <a:extLst>
                    <a:ext uri="{FF2B5EF4-FFF2-40B4-BE49-F238E27FC236}">
                      <a16:creationId xmlns:a16="http://schemas.microsoft.com/office/drawing/2014/main" id="{B56030D8-4623-C5E7-8856-C77E734CD44B}"/>
                    </a:ext>
                  </a:extLst>
                </p:cNvPr>
                <p:cNvSpPr/>
                <p:nvPr/>
              </p:nvSpPr>
              <p:spPr>
                <a:xfrm>
                  <a:off x="4303484" y="3789325"/>
                  <a:ext cx="1756230" cy="880646"/>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2" name="Rectangle 51">
                  <a:extLst>
                    <a:ext uri="{FF2B5EF4-FFF2-40B4-BE49-F238E27FC236}">
                      <a16:creationId xmlns:a16="http://schemas.microsoft.com/office/drawing/2014/main" id="{B748CF68-0DC2-9452-6415-78780FDD7F9B}"/>
                    </a:ext>
                  </a:extLst>
                </p:cNvPr>
                <p:cNvSpPr/>
                <p:nvPr/>
              </p:nvSpPr>
              <p:spPr>
                <a:xfrm>
                  <a:off x="6052457" y="3789325"/>
                  <a:ext cx="1756230" cy="880646"/>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3" name="Rectangle 52">
                  <a:extLst>
                    <a:ext uri="{FF2B5EF4-FFF2-40B4-BE49-F238E27FC236}">
                      <a16:creationId xmlns:a16="http://schemas.microsoft.com/office/drawing/2014/main" id="{09B99575-C311-E3D8-8396-A57F8A2E2D7A}"/>
                    </a:ext>
                  </a:extLst>
                </p:cNvPr>
                <p:cNvSpPr/>
                <p:nvPr/>
              </p:nvSpPr>
              <p:spPr>
                <a:xfrm>
                  <a:off x="783767" y="3789325"/>
                  <a:ext cx="1756230" cy="880646"/>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4" name="Rectangle 53">
                  <a:extLst>
                    <a:ext uri="{FF2B5EF4-FFF2-40B4-BE49-F238E27FC236}">
                      <a16:creationId xmlns:a16="http://schemas.microsoft.com/office/drawing/2014/main" id="{1687ED91-417C-1AF2-1C30-1B6AE0DE5C0C}"/>
                    </a:ext>
                  </a:extLst>
                </p:cNvPr>
                <p:cNvSpPr/>
                <p:nvPr/>
              </p:nvSpPr>
              <p:spPr>
                <a:xfrm>
                  <a:off x="1655443" y="3778440"/>
                  <a:ext cx="878115" cy="880646"/>
                </a:xfrm>
                <a:prstGeom prst="rect">
                  <a:avLst/>
                </a:prstGeom>
                <a:solidFill>
                  <a:srgbClr val="129038"/>
                </a:solidFill>
                <a:ln w="25400" cap="flat" cmpd="sng" algn="ctr">
                  <a:solidFill>
                    <a:srgbClr val="15AEEF"/>
                  </a:solidFill>
                  <a:prstDash val="solid"/>
                </a:ln>
                <a:effectLst>
                  <a:outerShdw blurRad="40005" dist="20320" dir="5400000" algn="ctr" rotWithShape="0">
                    <a:sysClr val="window" lastClr="FFFFFF">
                      <a:alpha val="38000"/>
                    </a:sys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grpSp>
          <p:cxnSp>
            <p:nvCxnSpPr>
              <p:cNvPr id="8" name="Elbow Connector 38">
                <a:extLst>
                  <a:ext uri="{FF2B5EF4-FFF2-40B4-BE49-F238E27FC236}">
                    <a16:creationId xmlns:a16="http://schemas.microsoft.com/office/drawing/2014/main" id="{6FA9EB44-DA86-A7E7-8721-91AC35B4A55F}"/>
                  </a:ext>
                </a:extLst>
              </p:cNvPr>
              <p:cNvCxnSpPr/>
              <p:nvPr/>
            </p:nvCxnSpPr>
            <p:spPr>
              <a:xfrm flipH="1">
                <a:off x="1059541" y="4218762"/>
                <a:ext cx="7024920" cy="12700"/>
              </a:xfrm>
              <a:prstGeom prst="bentConnector5">
                <a:avLst>
                  <a:gd name="adj1" fmla="val -6146"/>
                  <a:gd name="adj2" fmla="val -7418606"/>
                  <a:gd name="adj3" fmla="val 105733"/>
                </a:avLst>
              </a:prstGeom>
              <a:noFill/>
              <a:ln w="25400" cap="flat" cmpd="sng" algn="ctr">
                <a:solidFill>
                  <a:srgbClr val="FF0000"/>
                </a:solidFill>
                <a:prstDash val="lgDash"/>
                <a:tailEnd type="triangle" w="lg" len="med"/>
              </a:ln>
              <a:effectLst/>
            </p:spPr>
          </p:cxnSp>
          <p:sp>
            <p:nvSpPr>
              <p:cNvPr id="9" name="TextBox 8">
                <a:extLst>
                  <a:ext uri="{FF2B5EF4-FFF2-40B4-BE49-F238E27FC236}">
                    <a16:creationId xmlns:a16="http://schemas.microsoft.com/office/drawing/2014/main" id="{31AF384C-525A-EFD6-CB53-1D8A499D6559}"/>
                  </a:ext>
                </a:extLst>
              </p:cNvPr>
              <p:cNvSpPr txBox="1"/>
              <p:nvPr/>
            </p:nvSpPr>
            <p:spPr>
              <a:xfrm>
                <a:off x="1066799" y="3429000"/>
                <a:ext cx="1748971"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1</a:t>
                </a:r>
                <a:endParaRPr kumimoji="0" lang="en-US" sz="1800" b="0" i="0" u="none" strike="noStrike" kern="0" cap="none" spc="0" normalizeH="0" baseline="0" noProof="0" dirty="0">
                  <a:ln>
                    <a:noFill/>
                  </a:ln>
                  <a:solidFill>
                    <a:srgbClr val="000000"/>
                  </a:solidFill>
                  <a:effectLst/>
                  <a:uLnTx/>
                  <a:uFillTx/>
                </a:endParaRPr>
              </a:p>
            </p:txBody>
          </p:sp>
          <p:sp>
            <p:nvSpPr>
              <p:cNvPr id="10" name="TextBox 9">
                <a:extLst>
                  <a:ext uri="{FF2B5EF4-FFF2-40B4-BE49-F238E27FC236}">
                    <a16:creationId xmlns:a16="http://schemas.microsoft.com/office/drawing/2014/main" id="{A965EBB4-2123-B173-4B0E-64C8C8E352EB}"/>
                  </a:ext>
                </a:extLst>
              </p:cNvPr>
              <p:cNvSpPr txBox="1"/>
              <p:nvPr/>
            </p:nvSpPr>
            <p:spPr>
              <a:xfrm>
                <a:off x="2815771" y="3429000"/>
                <a:ext cx="1756229"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2</a:t>
                </a:r>
                <a:endParaRPr kumimoji="0" lang="en-US" sz="1800" b="0" i="0" u="none" strike="noStrike" kern="0" cap="none" spc="0" normalizeH="0" baseline="0" noProof="0" dirty="0">
                  <a:ln>
                    <a:noFill/>
                  </a:ln>
                  <a:solidFill>
                    <a:srgbClr val="000000"/>
                  </a:solidFill>
                  <a:effectLst/>
                  <a:uLnTx/>
                  <a:uFillTx/>
                </a:endParaRPr>
              </a:p>
            </p:txBody>
          </p:sp>
          <p:sp>
            <p:nvSpPr>
              <p:cNvPr id="11" name="TextBox 10">
                <a:extLst>
                  <a:ext uri="{FF2B5EF4-FFF2-40B4-BE49-F238E27FC236}">
                    <a16:creationId xmlns:a16="http://schemas.microsoft.com/office/drawing/2014/main" id="{54D16AB4-4BA2-A150-E3F4-AB543B276185}"/>
                  </a:ext>
                </a:extLst>
              </p:cNvPr>
              <p:cNvSpPr txBox="1"/>
              <p:nvPr/>
            </p:nvSpPr>
            <p:spPr>
              <a:xfrm>
                <a:off x="4579258" y="3429000"/>
                <a:ext cx="1745342"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3</a:t>
                </a:r>
                <a:endParaRPr kumimoji="0" lang="en-US" sz="1800" b="0" i="0" u="none" strike="noStrike" kern="0" cap="none" spc="0" normalizeH="0" baseline="0" noProof="0" dirty="0">
                  <a:ln>
                    <a:noFill/>
                  </a:ln>
                  <a:solidFill>
                    <a:srgbClr val="000000"/>
                  </a:solidFill>
                  <a:effectLst/>
                  <a:uLnTx/>
                  <a:uFillTx/>
                </a:endParaRPr>
              </a:p>
            </p:txBody>
          </p:sp>
          <p:sp>
            <p:nvSpPr>
              <p:cNvPr id="12" name="TextBox 11">
                <a:extLst>
                  <a:ext uri="{FF2B5EF4-FFF2-40B4-BE49-F238E27FC236}">
                    <a16:creationId xmlns:a16="http://schemas.microsoft.com/office/drawing/2014/main" id="{E0D44C9B-77DF-2710-C509-24333F168B66}"/>
                  </a:ext>
                </a:extLst>
              </p:cNvPr>
              <p:cNvSpPr txBox="1"/>
              <p:nvPr/>
            </p:nvSpPr>
            <p:spPr>
              <a:xfrm>
                <a:off x="6328231" y="3429000"/>
                <a:ext cx="1748969"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4</a:t>
                </a:r>
                <a:endParaRPr kumimoji="0" lang="en-US" sz="1800" b="0" i="0" u="none" strike="noStrike" kern="0" cap="none" spc="0" normalizeH="0" baseline="0" noProof="0" dirty="0">
                  <a:ln>
                    <a:noFill/>
                  </a:ln>
                  <a:solidFill>
                    <a:srgbClr val="000000"/>
                  </a:solidFill>
                  <a:effectLst/>
                  <a:uLnTx/>
                  <a:uFillTx/>
                </a:endParaRPr>
              </a:p>
            </p:txBody>
          </p:sp>
          <p:cxnSp>
            <p:nvCxnSpPr>
              <p:cNvPr id="37" name="Straight Arrow Connector 36">
                <a:extLst>
                  <a:ext uri="{FF2B5EF4-FFF2-40B4-BE49-F238E27FC236}">
                    <a16:creationId xmlns:a16="http://schemas.microsoft.com/office/drawing/2014/main" id="{066B0CD9-CC53-BC26-CE8A-6409E112C6A9}"/>
                  </a:ext>
                </a:extLst>
              </p:cNvPr>
              <p:cNvCxnSpPr/>
              <p:nvPr/>
            </p:nvCxnSpPr>
            <p:spPr>
              <a:xfrm flipV="1">
                <a:off x="1931217" y="4724400"/>
                <a:ext cx="0" cy="802632"/>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38" name="TextBox 37">
                <a:extLst>
                  <a:ext uri="{FF2B5EF4-FFF2-40B4-BE49-F238E27FC236}">
                    <a16:creationId xmlns:a16="http://schemas.microsoft.com/office/drawing/2014/main" id="{6A1C2933-A9CE-E9DC-A207-B342FBBBEDEA}"/>
                  </a:ext>
                </a:extLst>
              </p:cNvPr>
              <p:cNvSpPr txBox="1"/>
              <p:nvPr/>
            </p:nvSpPr>
            <p:spPr>
              <a:xfrm>
                <a:off x="1696766" y="5544979"/>
                <a:ext cx="1129891" cy="58477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End of logical log</a:t>
                </a:r>
              </a:p>
            </p:txBody>
          </p:sp>
          <p:sp>
            <p:nvSpPr>
              <p:cNvPr id="39" name="TextBox 38">
                <a:extLst>
                  <a:ext uri="{FF2B5EF4-FFF2-40B4-BE49-F238E27FC236}">
                    <a16:creationId xmlns:a16="http://schemas.microsoft.com/office/drawing/2014/main" id="{34E60CB7-B8C9-DB58-5C1A-137B49AADD64}"/>
                  </a:ext>
                </a:extLst>
              </p:cNvPr>
              <p:cNvSpPr txBox="1"/>
              <p:nvPr/>
            </p:nvSpPr>
            <p:spPr>
              <a:xfrm>
                <a:off x="2514600" y="4690646"/>
                <a:ext cx="1143000"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Truncated</a:t>
                </a:r>
              </a:p>
            </p:txBody>
          </p:sp>
          <p:cxnSp>
            <p:nvCxnSpPr>
              <p:cNvPr id="40" name="Straight Arrow Connector 39">
                <a:extLst>
                  <a:ext uri="{FF2B5EF4-FFF2-40B4-BE49-F238E27FC236}">
                    <a16:creationId xmlns:a16="http://schemas.microsoft.com/office/drawing/2014/main" id="{89E55F13-0002-4018-4DA8-4E353A01091E}"/>
                  </a:ext>
                </a:extLst>
              </p:cNvPr>
              <p:cNvCxnSpPr/>
              <p:nvPr/>
            </p:nvCxnSpPr>
            <p:spPr>
              <a:xfrm flipV="1">
                <a:off x="4583295" y="4701715"/>
                <a:ext cx="0" cy="802632"/>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1" name="TextBox 40">
                <a:extLst>
                  <a:ext uri="{FF2B5EF4-FFF2-40B4-BE49-F238E27FC236}">
                    <a16:creationId xmlns:a16="http://schemas.microsoft.com/office/drawing/2014/main" id="{79EB8C1D-7AA6-2B4B-675D-6AB74F965012}"/>
                  </a:ext>
                </a:extLst>
              </p:cNvPr>
              <p:cNvSpPr txBox="1"/>
              <p:nvPr/>
            </p:nvSpPr>
            <p:spPr>
              <a:xfrm>
                <a:off x="3975509" y="5511225"/>
                <a:ext cx="1129891" cy="58477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Start of logical log</a:t>
                </a:r>
              </a:p>
            </p:txBody>
          </p:sp>
          <p:cxnSp>
            <p:nvCxnSpPr>
              <p:cNvPr id="42" name="Straight Arrow Connector 41">
                <a:extLst>
                  <a:ext uri="{FF2B5EF4-FFF2-40B4-BE49-F238E27FC236}">
                    <a16:creationId xmlns:a16="http://schemas.microsoft.com/office/drawing/2014/main" id="{7B9CC2BF-351D-5EE2-810C-D0B5C567FF3A}"/>
                  </a:ext>
                </a:extLst>
              </p:cNvPr>
              <p:cNvCxnSpPr/>
              <p:nvPr/>
            </p:nvCxnSpPr>
            <p:spPr>
              <a:xfrm flipV="1">
                <a:off x="5181600" y="4735854"/>
                <a:ext cx="0" cy="401316"/>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3" name="TextBox 42">
                <a:extLst>
                  <a:ext uri="{FF2B5EF4-FFF2-40B4-BE49-F238E27FC236}">
                    <a16:creationId xmlns:a16="http://schemas.microsoft.com/office/drawing/2014/main" id="{84A6EBA7-B8CA-6057-9D54-CBD20F16E03C}"/>
                  </a:ext>
                </a:extLst>
              </p:cNvPr>
              <p:cNvSpPr txBox="1"/>
              <p:nvPr/>
            </p:nvSpPr>
            <p:spPr>
              <a:xfrm>
                <a:off x="4724400" y="5224046"/>
                <a:ext cx="914400"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MinLSN</a:t>
                </a:r>
              </a:p>
            </p:txBody>
          </p:sp>
          <p:cxnSp>
            <p:nvCxnSpPr>
              <p:cNvPr id="44" name="Straight Arrow Connector 43">
                <a:extLst>
                  <a:ext uri="{FF2B5EF4-FFF2-40B4-BE49-F238E27FC236}">
                    <a16:creationId xmlns:a16="http://schemas.microsoft.com/office/drawing/2014/main" id="{04D73F9E-869B-CB13-FFCB-B70AC04D2F77}"/>
                  </a:ext>
                </a:extLst>
              </p:cNvPr>
              <p:cNvCxnSpPr/>
              <p:nvPr/>
            </p:nvCxnSpPr>
            <p:spPr>
              <a:xfrm flipV="1">
                <a:off x="6032909" y="4671041"/>
                <a:ext cx="0" cy="802632"/>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5" name="TextBox 44">
                <a:extLst>
                  <a:ext uri="{FF2B5EF4-FFF2-40B4-BE49-F238E27FC236}">
                    <a16:creationId xmlns:a16="http://schemas.microsoft.com/office/drawing/2014/main" id="{E1AD11A6-F9AD-7459-8CCE-AB2CE9752B47}"/>
                  </a:ext>
                </a:extLst>
              </p:cNvPr>
              <p:cNvSpPr txBox="1"/>
              <p:nvPr/>
            </p:nvSpPr>
            <p:spPr>
              <a:xfrm>
                <a:off x="5728109" y="5473673"/>
                <a:ext cx="1358491" cy="58477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Next to last checkpoint</a:t>
                </a:r>
              </a:p>
            </p:txBody>
          </p:sp>
          <p:cxnSp>
            <p:nvCxnSpPr>
              <p:cNvPr id="46" name="Straight Arrow Connector 45">
                <a:extLst>
                  <a:ext uri="{FF2B5EF4-FFF2-40B4-BE49-F238E27FC236}">
                    <a16:creationId xmlns:a16="http://schemas.microsoft.com/office/drawing/2014/main" id="{D7539F05-231B-E9D2-ADC8-2178F40B4928}"/>
                  </a:ext>
                </a:extLst>
              </p:cNvPr>
              <p:cNvCxnSpPr/>
              <p:nvPr/>
            </p:nvCxnSpPr>
            <p:spPr>
              <a:xfrm flipV="1">
                <a:off x="6947309" y="4724400"/>
                <a:ext cx="0" cy="499646"/>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7" name="TextBox 46">
                <a:extLst>
                  <a:ext uri="{FF2B5EF4-FFF2-40B4-BE49-F238E27FC236}">
                    <a16:creationId xmlns:a16="http://schemas.microsoft.com/office/drawing/2014/main" id="{E3EF5BF4-B68B-1004-1132-E0FC93D3732B}"/>
                  </a:ext>
                </a:extLst>
              </p:cNvPr>
              <p:cNvSpPr txBox="1"/>
              <p:nvPr/>
            </p:nvSpPr>
            <p:spPr>
              <a:xfrm>
                <a:off x="6858000" y="5257800"/>
                <a:ext cx="1676400"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Last checkpoint</a:t>
                </a:r>
              </a:p>
            </p:txBody>
          </p:sp>
          <p:cxnSp>
            <p:nvCxnSpPr>
              <p:cNvPr id="48" name="Straight Arrow Connector 47">
                <a:extLst>
                  <a:ext uri="{FF2B5EF4-FFF2-40B4-BE49-F238E27FC236}">
                    <a16:creationId xmlns:a16="http://schemas.microsoft.com/office/drawing/2014/main" id="{20D8B346-5CE7-2BFE-2DD7-B9771C6B13DC}"/>
                  </a:ext>
                </a:extLst>
              </p:cNvPr>
              <p:cNvCxnSpPr/>
              <p:nvPr/>
            </p:nvCxnSpPr>
            <p:spPr>
              <a:xfrm>
                <a:off x="4876800" y="4207877"/>
                <a:ext cx="3048000" cy="0"/>
              </a:xfrm>
              <a:prstGeom prst="straightConnector1">
                <a:avLst/>
              </a:prstGeom>
              <a:noFill/>
              <a:ln w="25400" cap="flat" cmpd="sng" algn="ctr">
                <a:solidFill>
                  <a:srgbClr val="000000"/>
                </a:solidFill>
                <a:prstDash val="solid"/>
                <a:tailEnd type="triangle" w="lg" len="med"/>
              </a:ln>
              <a:effectLst/>
            </p:spPr>
          </p:cxnSp>
          <p:cxnSp>
            <p:nvCxnSpPr>
              <p:cNvPr id="49" name="Straight Arrow Connector 48">
                <a:extLst>
                  <a:ext uri="{FF2B5EF4-FFF2-40B4-BE49-F238E27FC236}">
                    <a16:creationId xmlns:a16="http://schemas.microsoft.com/office/drawing/2014/main" id="{F099CF8E-1BBD-B244-1ADD-CAF152709491}"/>
                  </a:ext>
                </a:extLst>
              </p:cNvPr>
              <p:cNvCxnSpPr/>
              <p:nvPr/>
            </p:nvCxnSpPr>
            <p:spPr>
              <a:xfrm>
                <a:off x="1143000" y="4191000"/>
                <a:ext cx="685800" cy="0"/>
              </a:xfrm>
              <a:prstGeom prst="straightConnector1">
                <a:avLst/>
              </a:prstGeom>
              <a:noFill/>
              <a:ln w="25400" cap="flat" cmpd="sng" algn="ctr">
                <a:solidFill>
                  <a:srgbClr val="000000"/>
                </a:solidFill>
                <a:prstDash val="solid"/>
                <a:tailEnd type="triangle" w="lg" len="med"/>
              </a:ln>
              <a:effectLst/>
            </p:spPr>
          </p:cxnSp>
        </p:grpSp>
      </p:grpSp>
    </p:spTree>
    <p:extLst>
      <p:ext uri="{BB962C8B-B14F-4D97-AF65-F5344CB8AC3E}">
        <p14:creationId xmlns:p14="http://schemas.microsoft.com/office/powerpoint/2010/main" val="18517088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452B6-E2D9-4808-A13E-5597AEE2B65E}"/>
              </a:ext>
            </a:extLst>
          </p:cNvPr>
          <p:cNvSpPr>
            <a:spLocks noGrp="1"/>
          </p:cNvSpPr>
          <p:nvPr>
            <p:ph type="title"/>
          </p:nvPr>
        </p:nvSpPr>
        <p:spPr/>
        <p:txBody>
          <a:bodyPr/>
          <a:lstStyle/>
          <a:p>
            <a:r>
              <a:rPr lang="en-US" dirty="0"/>
              <a:t>Addressing VLF Counts</a:t>
            </a:r>
          </a:p>
        </p:txBody>
      </p:sp>
      <p:graphicFrame>
        <p:nvGraphicFramePr>
          <p:cNvPr id="5" name="Content Placeholder 4">
            <a:extLst>
              <a:ext uri="{FF2B5EF4-FFF2-40B4-BE49-F238E27FC236}">
                <a16:creationId xmlns:a16="http://schemas.microsoft.com/office/drawing/2014/main" id="{D2C649BE-99B2-4F64-9715-9F84DFE57F63}"/>
              </a:ext>
            </a:extLst>
          </p:cNvPr>
          <p:cNvGraphicFramePr>
            <a:graphicFrameLocks noGrp="1"/>
          </p:cNvGraphicFramePr>
          <p:nvPr>
            <p:ph sz="quarter" idx="13"/>
            <p:extLst>
              <p:ext uri="{D42A27DB-BD31-4B8C-83A1-F6EECF244321}">
                <p14:modId xmlns:p14="http://schemas.microsoft.com/office/powerpoint/2010/main" val="315291608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963464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67A8C-1571-4560-AD72-2E77B10AF292}"/>
              </a:ext>
            </a:extLst>
          </p:cNvPr>
          <p:cNvSpPr>
            <a:spLocks noGrp="1"/>
          </p:cNvSpPr>
          <p:nvPr>
            <p:ph type="title"/>
          </p:nvPr>
        </p:nvSpPr>
        <p:spPr/>
        <p:txBody>
          <a:bodyPr/>
          <a:lstStyle/>
          <a:p>
            <a:r>
              <a:rPr lang="en-US" dirty="0"/>
              <a:t>SQL Server 2014 VLF Growth Improvement</a:t>
            </a:r>
          </a:p>
        </p:txBody>
      </p:sp>
      <p:sp>
        <p:nvSpPr>
          <p:cNvPr id="4" name="Content Placeholder 3">
            <a:extLst>
              <a:ext uri="{FF2B5EF4-FFF2-40B4-BE49-F238E27FC236}">
                <a16:creationId xmlns:a16="http://schemas.microsoft.com/office/drawing/2014/main" id="{B965750F-ED6F-4D17-9B4A-BDF5BAF51D26}"/>
              </a:ext>
            </a:extLst>
          </p:cNvPr>
          <p:cNvSpPr>
            <a:spLocks noGrp="1"/>
          </p:cNvSpPr>
          <p:nvPr>
            <p:ph sz="quarter" idx="13"/>
          </p:nvPr>
        </p:nvSpPr>
        <p:spPr>
          <a:xfrm>
            <a:off x="547483" y="1019175"/>
            <a:ext cx="10880726" cy="4819650"/>
          </a:xfrm>
        </p:spPr>
        <p:txBody>
          <a:bodyPr/>
          <a:lstStyle/>
          <a:p>
            <a:r>
              <a:rPr lang="en-US" dirty="0"/>
              <a:t>Is the growth size less than 1/8 the size of the current log size?</a:t>
            </a:r>
          </a:p>
          <a:p>
            <a:pPr lvl="1"/>
            <a:r>
              <a:rPr lang="en-US" sz="2400" dirty="0"/>
              <a:t>Yes: create 1 new VLF equal to the growth size</a:t>
            </a:r>
          </a:p>
          <a:p>
            <a:pPr lvl="1"/>
            <a:r>
              <a:rPr lang="en-US" sz="2400" dirty="0"/>
              <a:t>No: use the previous formula</a:t>
            </a:r>
          </a:p>
          <a:p>
            <a:r>
              <a:rPr lang="en-US" dirty="0"/>
              <a:t>Example of a 256 MB log file with an autogrowth setting of 5 MB</a:t>
            </a:r>
          </a:p>
          <a:p>
            <a:pPr lvl="1"/>
            <a:r>
              <a:rPr lang="en-US" dirty="0"/>
              <a:t>2012 and earlier: 10 auto-grows of 5MB would add 4 VLFs x 10 auto-grows</a:t>
            </a:r>
          </a:p>
          <a:p>
            <a:pPr lvl="1"/>
            <a:r>
              <a:rPr lang="en-US" dirty="0"/>
              <a:t>2014 and later: 10 auto-grows of 5MB each would only create 10 VLFs</a:t>
            </a:r>
            <a:br>
              <a:rPr lang="en-US" dirty="0"/>
            </a:br>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6" name="Table 5">
            <a:extLst>
              <a:ext uri="{FF2B5EF4-FFF2-40B4-BE49-F238E27FC236}">
                <a16:creationId xmlns:a16="http://schemas.microsoft.com/office/drawing/2014/main" id="{7946A3CD-2207-4CF8-9AC8-0B5177E59961}"/>
              </a:ext>
            </a:extLst>
          </p:cNvPr>
          <p:cNvGraphicFramePr>
            <a:graphicFrameLocks noGrp="1"/>
          </p:cNvGraphicFramePr>
          <p:nvPr>
            <p:extLst>
              <p:ext uri="{D42A27DB-BD31-4B8C-83A1-F6EECF244321}">
                <p14:modId xmlns:p14="http://schemas.microsoft.com/office/powerpoint/2010/main" val="3004834929"/>
              </p:ext>
            </p:extLst>
          </p:nvPr>
        </p:nvGraphicFramePr>
        <p:xfrm>
          <a:off x="1568246" y="3734789"/>
          <a:ext cx="8839200" cy="2603908"/>
        </p:xfrm>
        <a:graphic>
          <a:graphicData uri="http://schemas.openxmlformats.org/drawingml/2006/table">
            <a:tbl>
              <a:tblPr firstRow="1" bandRow="1">
                <a:tableStyleId>{9DCAF9ED-07DC-4A11-8D7F-57B35C25682E}</a:tableStyleId>
              </a:tblPr>
              <a:tblGrid>
                <a:gridCol w="3337572">
                  <a:extLst>
                    <a:ext uri="{9D8B030D-6E8A-4147-A177-3AD203B41FA5}">
                      <a16:colId xmlns:a16="http://schemas.microsoft.com/office/drawing/2014/main" val="20000"/>
                    </a:ext>
                  </a:extLst>
                </a:gridCol>
                <a:gridCol w="2682228">
                  <a:extLst>
                    <a:ext uri="{9D8B030D-6E8A-4147-A177-3AD203B41FA5}">
                      <a16:colId xmlns:a16="http://schemas.microsoft.com/office/drawing/2014/main" val="20001"/>
                    </a:ext>
                  </a:extLst>
                </a:gridCol>
                <a:gridCol w="2819400">
                  <a:extLst>
                    <a:ext uri="{9D8B030D-6E8A-4147-A177-3AD203B41FA5}">
                      <a16:colId xmlns:a16="http://schemas.microsoft.com/office/drawing/2014/main" val="20002"/>
                    </a:ext>
                  </a:extLst>
                </a:gridCol>
              </a:tblGrid>
              <a:tr h="409348">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Grow Iterations + Log</a:t>
                      </a:r>
                      <a:r>
                        <a:rPr lang="en-US" sz="1800" baseline="0" dirty="0"/>
                        <a:t> size</a:t>
                      </a:r>
                      <a:endParaRPr lang="pt-PT" sz="1800" dirty="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Up</a:t>
                      </a:r>
                      <a:r>
                        <a:rPr lang="en-US" sz="1800" baseline="0" dirty="0"/>
                        <a:t> to SQL Server 2012</a:t>
                      </a:r>
                      <a:endParaRPr lang="pt-PT" sz="1800" dirty="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From SQL Server 2014</a:t>
                      </a:r>
                      <a:endParaRPr lang="pt-PT" sz="18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0"/>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0 (256 MB)</a:t>
                      </a:r>
                      <a:endParaRPr lang="pt-PT" sz="1800" dirty="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1"/>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0 (306 M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4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2"/>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0 (356 M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3"/>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0 (656 M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2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8</a:t>
                      </a:r>
                      <a:endParaRPr lang="pt-PT" sz="18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4"/>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50 (1.2 G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00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5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5"/>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020</a:t>
                      </a:r>
                      <a:r>
                        <a:rPr lang="en-US" sz="1800" baseline="0" dirty="0"/>
                        <a:t> (15 G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2091</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028</a:t>
                      </a:r>
                      <a:endParaRPr lang="pt-PT" sz="18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6950693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452B6-E2D9-4808-A13E-5597AEE2B65E}"/>
              </a:ext>
            </a:extLst>
          </p:cNvPr>
          <p:cNvSpPr>
            <a:spLocks noGrp="1"/>
          </p:cNvSpPr>
          <p:nvPr>
            <p:ph type="title"/>
          </p:nvPr>
        </p:nvSpPr>
        <p:spPr/>
        <p:txBody>
          <a:bodyPr/>
          <a:lstStyle/>
          <a:p>
            <a:r>
              <a:rPr lang="en-US" dirty="0"/>
              <a:t>Addressing VLF Counts</a:t>
            </a:r>
          </a:p>
        </p:txBody>
      </p:sp>
      <p:graphicFrame>
        <p:nvGraphicFramePr>
          <p:cNvPr id="5" name="Content Placeholder 4">
            <a:extLst>
              <a:ext uri="{FF2B5EF4-FFF2-40B4-BE49-F238E27FC236}">
                <a16:creationId xmlns:a16="http://schemas.microsoft.com/office/drawing/2014/main" id="{D2C649BE-99B2-4F64-9715-9F84DFE57F63}"/>
              </a:ext>
            </a:extLst>
          </p:cNvPr>
          <p:cNvGraphicFramePr>
            <a:graphicFrameLocks noGrp="1"/>
          </p:cNvGraphicFramePr>
          <p:nvPr>
            <p:ph sz="quarter" idx="13"/>
            <p:extLst>
              <p:ext uri="{D42A27DB-BD31-4B8C-83A1-F6EECF244321}">
                <p14:modId xmlns:p14="http://schemas.microsoft.com/office/powerpoint/2010/main" val="134128527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85067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log us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300224634"/>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4224256510"/>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39F5D-162F-4769-AB09-6F694188AA4C}"/>
              </a:ext>
            </a:extLst>
          </p:cNvPr>
          <p:cNvSpPr>
            <a:spLocks noGrp="1"/>
          </p:cNvSpPr>
          <p:nvPr>
            <p:ph type="title"/>
          </p:nvPr>
        </p:nvSpPr>
        <p:spPr>
          <a:xfrm>
            <a:off x="459684" y="255624"/>
            <a:ext cx="10880725" cy="461665"/>
          </a:xfrm>
        </p:spPr>
        <p:txBody>
          <a:bodyPr/>
          <a:lstStyle/>
          <a:p>
            <a:r>
              <a:rPr lang="en-US" dirty="0"/>
              <a:t>Page types</a:t>
            </a:r>
          </a:p>
        </p:txBody>
      </p:sp>
      <p:graphicFrame>
        <p:nvGraphicFramePr>
          <p:cNvPr id="9" name="Content Placeholder 8">
            <a:extLst>
              <a:ext uri="{FF2B5EF4-FFF2-40B4-BE49-F238E27FC236}">
                <a16:creationId xmlns:a16="http://schemas.microsoft.com/office/drawing/2014/main" id="{7211203A-06D1-4275-BE0B-A6F63E7764AC}"/>
              </a:ext>
            </a:extLst>
          </p:cNvPr>
          <p:cNvGraphicFramePr>
            <a:graphicFrameLocks noGrp="1"/>
          </p:cNvGraphicFramePr>
          <p:nvPr>
            <p:ph sz="quarter" idx="13"/>
            <p:extLst>
              <p:ext uri="{D42A27DB-BD31-4B8C-83A1-F6EECF244321}">
                <p14:modId xmlns:p14="http://schemas.microsoft.com/office/powerpoint/2010/main" val="2558024718"/>
              </p:ext>
            </p:extLst>
          </p:nvPr>
        </p:nvGraphicFramePr>
        <p:xfrm>
          <a:off x="410699" y="874739"/>
          <a:ext cx="11283517" cy="5753498"/>
        </p:xfrm>
        <a:graphic>
          <a:graphicData uri="http://schemas.openxmlformats.org/drawingml/2006/table">
            <a:tbl>
              <a:tblPr firstRow="1" bandRow="1">
                <a:tableStyleId>{5C22544A-7EE6-4342-B048-85BDC9FD1C3A}</a:tableStyleId>
              </a:tblPr>
              <a:tblGrid>
                <a:gridCol w="814090">
                  <a:extLst>
                    <a:ext uri="{9D8B030D-6E8A-4147-A177-3AD203B41FA5}">
                      <a16:colId xmlns:a16="http://schemas.microsoft.com/office/drawing/2014/main" val="2584181835"/>
                    </a:ext>
                  </a:extLst>
                </a:gridCol>
                <a:gridCol w="2830140">
                  <a:extLst>
                    <a:ext uri="{9D8B030D-6E8A-4147-A177-3AD203B41FA5}">
                      <a16:colId xmlns:a16="http://schemas.microsoft.com/office/drawing/2014/main" val="3132208126"/>
                    </a:ext>
                  </a:extLst>
                </a:gridCol>
                <a:gridCol w="7639287">
                  <a:extLst>
                    <a:ext uri="{9D8B030D-6E8A-4147-A177-3AD203B41FA5}">
                      <a16:colId xmlns:a16="http://schemas.microsoft.com/office/drawing/2014/main" val="781971758"/>
                    </a:ext>
                  </a:extLst>
                </a:gridCol>
              </a:tblGrid>
              <a:tr h="407015">
                <a:tc>
                  <a:txBody>
                    <a:bodyPr/>
                    <a:lstStyle/>
                    <a:p>
                      <a:r>
                        <a:rPr lang="en-US" sz="1800" dirty="0"/>
                        <a:t>Types</a:t>
                      </a:r>
                    </a:p>
                  </a:txBody>
                  <a:tcPr/>
                </a:tc>
                <a:tc>
                  <a:txBody>
                    <a:bodyPr/>
                    <a:lstStyle/>
                    <a:p>
                      <a:r>
                        <a:rPr lang="en-US" sz="1800" dirty="0"/>
                        <a:t>Page Type (ID)</a:t>
                      </a:r>
                    </a:p>
                  </a:txBody>
                  <a:tcPr/>
                </a:tc>
                <a:tc>
                  <a:txBody>
                    <a:bodyPr/>
                    <a:lstStyle/>
                    <a:p>
                      <a:r>
                        <a:rPr lang="en-US" sz="1800" dirty="0"/>
                        <a:t>Description</a:t>
                      </a:r>
                    </a:p>
                  </a:txBody>
                  <a:tcPr/>
                </a:tc>
                <a:extLst>
                  <a:ext uri="{0D108BD9-81ED-4DB2-BD59-A6C34878D82A}">
                    <a16:rowId xmlns:a16="http://schemas.microsoft.com/office/drawing/2014/main" val="199634664"/>
                  </a:ext>
                </a:extLst>
              </a:tr>
              <a:tr h="703025">
                <a:tc rowSpan="3">
                  <a:txBody>
                    <a:bodyPr/>
                    <a:lstStyle/>
                    <a:p>
                      <a:pPr algn="ctr"/>
                      <a:r>
                        <a:rPr lang="en-US" sz="1200" dirty="0"/>
                        <a:t>Data and Index</a:t>
                      </a:r>
                    </a:p>
                  </a:txBody>
                  <a:tcPr vert="vert270">
                    <a:solidFill>
                      <a:schemeClr val="tx2">
                        <a:lumMod val="20000"/>
                        <a:lumOff val="80000"/>
                      </a:schemeClr>
                    </a:solidFill>
                  </a:tcPr>
                </a:tc>
                <a:tc>
                  <a:txBody>
                    <a:bodyPr/>
                    <a:lstStyle/>
                    <a:p>
                      <a:r>
                        <a:rPr lang="en-US" sz="1800" dirty="0"/>
                        <a:t>Data (1)</a:t>
                      </a:r>
                    </a:p>
                  </a:txBody>
                  <a:tcPr>
                    <a:solidFill>
                      <a:schemeClr val="tx2">
                        <a:lumMod val="20000"/>
                        <a:lumOff val="80000"/>
                      </a:schemeClr>
                    </a:solidFill>
                  </a:tcPr>
                </a:tc>
                <a:tc>
                  <a:txBody>
                    <a:bodyPr/>
                    <a:lstStyle/>
                    <a:p>
                      <a:r>
                        <a:rPr lang="en-US" sz="1800" dirty="0">
                          <a:effectLst/>
                        </a:rPr>
                        <a:t>Data rows except text, ntext, image, varchar(max), nvarchar(max), varbinary(max), and xml data, when </a:t>
                      </a:r>
                      <a:r>
                        <a:rPr lang="en-US" sz="1800" b="1" dirty="0">
                          <a:effectLst/>
                        </a:rPr>
                        <a:t>text in row</a:t>
                      </a:r>
                      <a:r>
                        <a:rPr lang="en-US" sz="1800" dirty="0">
                          <a:effectLst/>
                        </a:rPr>
                        <a:t> is set to </a:t>
                      </a:r>
                      <a:r>
                        <a:rPr lang="en-US" sz="1800" b="1" dirty="0">
                          <a:effectLst/>
                        </a:rPr>
                        <a:t>ON</a:t>
                      </a:r>
                      <a:endParaRPr lang="en-US" sz="1800" b="1" dirty="0"/>
                    </a:p>
                  </a:txBody>
                  <a:tcPr>
                    <a:solidFill>
                      <a:schemeClr val="tx2">
                        <a:lumMod val="20000"/>
                        <a:lumOff val="80000"/>
                      </a:schemeClr>
                    </a:solidFill>
                  </a:tcPr>
                </a:tc>
                <a:extLst>
                  <a:ext uri="{0D108BD9-81ED-4DB2-BD59-A6C34878D82A}">
                    <a16:rowId xmlns:a16="http://schemas.microsoft.com/office/drawing/2014/main" val="3582416367"/>
                  </a:ext>
                </a:extLst>
              </a:tr>
              <a:tr h="407015">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dex (2)</a:t>
                      </a:r>
                      <a:endParaRPr lang="en-US" sz="1800" dirty="0"/>
                    </a:p>
                  </a:txBody>
                  <a:tcPr>
                    <a:solidFill>
                      <a:schemeClr val="tx2">
                        <a:lumMod val="20000"/>
                        <a:lumOff val="80000"/>
                      </a:schemeClr>
                    </a:solidFill>
                  </a:tcPr>
                </a:tc>
                <a:tc>
                  <a:txBody>
                    <a:bodyPr/>
                    <a:lstStyle/>
                    <a:p>
                      <a:r>
                        <a:rPr lang="en-US" sz="1800" dirty="0"/>
                        <a:t>Index Entries</a:t>
                      </a:r>
                    </a:p>
                  </a:txBody>
                  <a:tcPr>
                    <a:solidFill>
                      <a:schemeClr val="tx2">
                        <a:lumMod val="20000"/>
                        <a:lumOff val="80000"/>
                      </a:schemeClr>
                    </a:solidFill>
                  </a:tcPr>
                </a:tc>
                <a:extLst>
                  <a:ext uri="{0D108BD9-81ED-4DB2-BD59-A6C34878D82A}">
                    <a16:rowId xmlns:a16="http://schemas.microsoft.com/office/drawing/2014/main" val="3406184462"/>
                  </a:ext>
                </a:extLst>
              </a:tr>
              <a:tr h="555158">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Text/Image (3 or 4)</a:t>
                      </a:r>
                      <a:endParaRPr lang="en-US" sz="1800" dirty="0"/>
                    </a:p>
                  </a:txBody>
                  <a:tcPr>
                    <a:solidFill>
                      <a:schemeClr val="tx2">
                        <a:lumMod val="20000"/>
                        <a:lumOff val="80000"/>
                      </a:schemeClr>
                    </a:solidFill>
                  </a:tcPr>
                </a:tc>
                <a:tc>
                  <a:txBody>
                    <a:bodyPr/>
                    <a:lstStyle/>
                    <a:p>
                      <a:r>
                        <a:rPr lang="en-US" sz="1800" dirty="0"/>
                        <a:t>Large Object Data Type, variable length columns when the data row exceeds 8 kilobytes (KB)</a:t>
                      </a:r>
                    </a:p>
                  </a:txBody>
                  <a:tcPr>
                    <a:solidFill>
                      <a:schemeClr val="tx2">
                        <a:lumMod val="20000"/>
                        <a:lumOff val="80000"/>
                      </a:schemeClr>
                    </a:solidFill>
                  </a:tcPr>
                </a:tc>
                <a:extLst>
                  <a:ext uri="{0D108BD9-81ED-4DB2-BD59-A6C34878D82A}">
                    <a16:rowId xmlns:a16="http://schemas.microsoft.com/office/drawing/2014/main" val="404599460"/>
                  </a:ext>
                </a:extLst>
              </a:tr>
              <a:tr h="407015">
                <a:tc rowSpan="3">
                  <a:txBody>
                    <a:bodyPr/>
                    <a:lstStyle/>
                    <a:p>
                      <a:pPr algn="ctr"/>
                      <a:r>
                        <a:rPr lang="en-US" sz="1200" dirty="0"/>
                        <a:t>Allocation</a:t>
                      </a:r>
                    </a:p>
                  </a:txBody>
                  <a:tcPr vert="vert270">
                    <a:solidFill>
                      <a:srgbClr val="E7ECF7"/>
                    </a:solidFill>
                  </a:tcPr>
                </a:tc>
                <a:tc>
                  <a:txBody>
                    <a:bodyPr/>
                    <a:lstStyle/>
                    <a:p>
                      <a:r>
                        <a:rPr lang="en-US" sz="1800" dirty="0"/>
                        <a:t>GAM, SGAM (8 and 9)</a:t>
                      </a:r>
                    </a:p>
                  </a:txBody>
                  <a:tcPr>
                    <a:solidFill>
                      <a:srgbClr val="E7ECF7"/>
                    </a:solidFill>
                  </a:tcPr>
                </a:tc>
                <a:tc>
                  <a:txBody>
                    <a:bodyPr/>
                    <a:lstStyle/>
                    <a:p>
                      <a:r>
                        <a:rPr lang="en-US" sz="1800" dirty="0"/>
                        <a:t>Extent Allocation information</a:t>
                      </a:r>
                    </a:p>
                  </a:txBody>
                  <a:tcPr>
                    <a:solidFill>
                      <a:srgbClr val="E7ECF7"/>
                    </a:solidFill>
                  </a:tcPr>
                </a:tc>
                <a:extLst>
                  <a:ext uri="{0D108BD9-81ED-4DB2-BD59-A6C34878D82A}">
                    <a16:rowId xmlns:a16="http://schemas.microsoft.com/office/drawing/2014/main" val="3174941510"/>
                  </a:ext>
                </a:extLst>
              </a:tr>
              <a:tr h="407015">
                <a:tc vMerge="1">
                  <a:txBody>
                    <a:bodyPr/>
                    <a:lstStyle/>
                    <a:p>
                      <a:endParaRPr lang="en-US" sz="1800" dirty="0"/>
                    </a:p>
                  </a:txBody>
                  <a:tcPr/>
                </a:tc>
                <a:tc>
                  <a:txBody>
                    <a:bodyPr/>
                    <a:lstStyle/>
                    <a:p>
                      <a:r>
                        <a:rPr lang="en-US" sz="1800" dirty="0"/>
                        <a:t>PFS (11)</a:t>
                      </a:r>
                    </a:p>
                  </a:txBody>
                  <a:tcPr>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page allocation and free space available on pages</a:t>
                      </a:r>
                    </a:p>
                  </a:txBody>
                  <a:tcPr>
                    <a:solidFill>
                      <a:srgbClr val="E7ECF7"/>
                    </a:solidFill>
                  </a:tcPr>
                </a:tc>
                <a:extLst>
                  <a:ext uri="{0D108BD9-81ED-4DB2-BD59-A6C34878D82A}">
                    <a16:rowId xmlns:a16="http://schemas.microsoft.com/office/drawing/2014/main" val="420272656"/>
                  </a:ext>
                </a:extLst>
              </a:tr>
              <a:tr h="283805">
                <a:tc vMerge="1">
                  <a:txBody>
                    <a:bodyPr/>
                    <a:lstStyle/>
                    <a:p>
                      <a:endParaRPr lang="en-US" sz="1800" dirty="0"/>
                    </a:p>
                  </a:txBody>
                  <a:tcPr/>
                </a:tc>
                <a:tc>
                  <a:txBody>
                    <a:bodyPr/>
                    <a:lstStyle/>
                    <a:p>
                      <a:r>
                        <a:rPr lang="en-US" sz="1800" dirty="0"/>
                        <a:t>IAM (10)</a:t>
                      </a:r>
                    </a:p>
                  </a:txBody>
                  <a:tcPr>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used by a table or index per allocation unit</a:t>
                      </a:r>
                      <a:endParaRPr lang="en-US" sz="1800" dirty="0"/>
                    </a:p>
                  </a:txBody>
                  <a:tcPr>
                    <a:solidFill>
                      <a:srgbClr val="E7ECF7"/>
                    </a:solidFill>
                  </a:tcPr>
                </a:tc>
                <a:extLst>
                  <a:ext uri="{0D108BD9-81ED-4DB2-BD59-A6C34878D82A}">
                    <a16:rowId xmlns:a16="http://schemas.microsoft.com/office/drawing/2014/main" val="2562197781"/>
                  </a:ext>
                </a:extLst>
              </a:tr>
              <a:tr h="703025">
                <a:tc rowSpan="2">
                  <a:txBody>
                    <a:bodyPr/>
                    <a:lstStyle/>
                    <a:p>
                      <a:pPr algn="ctr"/>
                      <a:r>
                        <a:rPr lang="en-US" sz="1200" dirty="0"/>
                        <a:t>Restore</a:t>
                      </a:r>
                    </a:p>
                  </a:txBody>
                  <a:tcPr vert="vert270">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Bulk Changed Map (17)</a:t>
                      </a:r>
                    </a:p>
                    <a:p>
                      <a:endParaRPr lang="en-US" sz="1800" dirty="0"/>
                    </a:p>
                  </a:txBody>
                  <a:tcPr>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modified by bulk operations since the last BACKUP LOG statement per allocation unit</a:t>
                      </a:r>
                      <a:endParaRPr lang="en-US" sz="1800" dirty="0"/>
                    </a:p>
                  </a:txBody>
                  <a:tcPr>
                    <a:solidFill>
                      <a:schemeClr val="tx2">
                        <a:lumMod val="20000"/>
                        <a:lumOff val="80000"/>
                      </a:schemeClr>
                    </a:solidFill>
                  </a:tcPr>
                </a:tc>
                <a:extLst>
                  <a:ext uri="{0D108BD9-81ED-4DB2-BD59-A6C34878D82A}">
                    <a16:rowId xmlns:a16="http://schemas.microsoft.com/office/drawing/2014/main" val="4153643319"/>
                  </a:ext>
                </a:extLst>
              </a:tr>
              <a:tr h="0">
                <a:tc vMerge="1">
                  <a:txBody>
                    <a:bodyPr/>
                    <a:lstStyle/>
                    <a:p>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Differential Changed Map (16)</a:t>
                      </a:r>
                    </a:p>
                    <a:p>
                      <a:endParaRPr lang="en-US" sz="1800" dirty="0"/>
                    </a:p>
                  </a:txBody>
                  <a:tcPr>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that have changed since the last BACKUP DATABASE statement per allocation unit</a:t>
                      </a:r>
                    </a:p>
                  </a:txBody>
                  <a:tcPr>
                    <a:solidFill>
                      <a:schemeClr val="tx2">
                        <a:lumMod val="20000"/>
                        <a:lumOff val="80000"/>
                      </a:schemeClr>
                    </a:solidFill>
                  </a:tcPr>
                </a:tc>
                <a:extLst>
                  <a:ext uri="{0D108BD9-81ED-4DB2-BD59-A6C34878D82A}">
                    <a16:rowId xmlns:a16="http://schemas.microsoft.com/office/drawing/2014/main" val="1493542476"/>
                  </a:ext>
                </a:extLst>
              </a:tr>
              <a:tr h="407015">
                <a:tc rowSpan="2">
                  <a:txBody>
                    <a:bodyPr/>
                    <a:lstStyle/>
                    <a:p>
                      <a:pPr algn="ctr"/>
                      <a:r>
                        <a:rPr lang="en-US" sz="1200" dirty="0"/>
                        <a:t>Metadata</a:t>
                      </a:r>
                    </a:p>
                  </a:txBody>
                  <a:tcPr vert="vert270">
                    <a:solidFill>
                      <a:srgbClr val="E7ECF7"/>
                    </a:solidFill>
                  </a:tcPr>
                </a:tc>
                <a:tc>
                  <a:txBody>
                    <a:bodyPr/>
                    <a:lstStyle/>
                    <a:p>
                      <a:r>
                        <a:rPr lang="en-US" sz="1800" dirty="0"/>
                        <a:t>Boot (13)</a:t>
                      </a:r>
                    </a:p>
                  </a:txBody>
                  <a:tcPr>
                    <a:solidFill>
                      <a:srgbClr val="E7ECF7"/>
                    </a:solidFill>
                  </a:tcPr>
                </a:tc>
                <a:tc>
                  <a:txBody>
                    <a:bodyPr/>
                    <a:lstStyle/>
                    <a:p>
                      <a:r>
                        <a:rPr lang="en-US" sz="1800" u="none" strike="noStrike" dirty="0">
                          <a:effectLst/>
                        </a:rPr>
                        <a:t>Information about the database; Each database has only one Boot page</a:t>
                      </a:r>
                      <a:endParaRPr lang="en-US" sz="1800" dirty="0"/>
                    </a:p>
                  </a:txBody>
                  <a:tcPr>
                    <a:solidFill>
                      <a:srgbClr val="E7ECF7"/>
                    </a:solidFill>
                  </a:tcPr>
                </a:tc>
                <a:extLst>
                  <a:ext uri="{0D108BD9-81ED-4DB2-BD59-A6C34878D82A}">
                    <a16:rowId xmlns:a16="http://schemas.microsoft.com/office/drawing/2014/main" val="1945886157"/>
                  </a:ext>
                </a:extLst>
              </a:tr>
              <a:tr h="392133">
                <a:tc vMerge="1">
                  <a:txBody>
                    <a:bodyPr/>
                    <a:lstStyle/>
                    <a:p>
                      <a:pPr algn="ctr"/>
                      <a:endParaRPr lang="en-US" sz="1800" dirty="0"/>
                    </a:p>
                  </a:txBody>
                  <a:tcPr/>
                </a:tc>
                <a:tc>
                  <a:txBody>
                    <a:bodyPr/>
                    <a:lstStyle/>
                    <a:p>
                      <a:r>
                        <a:rPr lang="en-US" sz="1800" dirty="0"/>
                        <a:t>File Header (15)</a:t>
                      </a:r>
                    </a:p>
                  </a:txBody>
                  <a:tcPr>
                    <a:solidFill>
                      <a:srgbClr val="E7ECF7"/>
                    </a:solidFill>
                  </a:tcPr>
                </a:tc>
                <a:tc>
                  <a:txBody>
                    <a:bodyPr/>
                    <a:lstStyle/>
                    <a:p>
                      <a:r>
                        <a:rPr lang="en-US" sz="1800" u="none" strike="noStrike" dirty="0">
                          <a:effectLst/>
                        </a:rPr>
                        <a:t>Information about the file. It is the first page (page 0) in every file</a:t>
                      </a:r>
                      <a:endParaRPr lang="en-US" sz="1800" dirty="0"/>
                    </a:p>
                  </a:txBody>
                  <a:tcPr>
                    <a:solidFill>
                      <a:srgbClr val="E7ECF7"/>
                    </a:solidFill>
                  </a:tcPr>
                </a:tc>
                <a:extLst>
                  <a:ext uri="{0D108BD9-81ED-4DB2-BD59-A6C34878D82A}">
                    <a16:rowId xmlns:a16="http://schemas.microsoft.com/office/drawing/2014/main" val="2155685844"/>
                  </a:ext>
                </a:extLst>
              </a:tr>
            </a:tbl>
          </a:graphicData>
        </a:graphic>
      </p:graphicFrame>
    </p:spTree>
    <p:extLst>
      <p:ext uri="{BB962C8B-B14F-4D97-AF65-F5344CB8AC3E}">
        <p14:creationId xmlns:p14="http://schemas.microsoft.com/office/powerpoint/2010/main" val="18767580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954724683"/>
              </p:ext>
            </p:extLst>
          </p:nvPr>
        </p:nvGraphicFramePr>
        <p:xfrm>
          <a:off x="655638" y="1408113"/>
          <a:ext cx="10880725" cy="2478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17182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2401" y="178280"/>
            <a:ext cx="10971244" cy="1142838"/>
          </a:xfrm>
        </p:spPr>
        <p:txBody>
          <a:bodyPr/>
          <a:lstStyle/>
          <a:p>
            <a:r>
              <a:rPr lang="en-US" dirty="0"/>
              <a:t>Row Storage</a:t>
            </a:r>
          </a:p>
        </p:txBody>
      </p:sp>
      <p:graphicFrame>
        <p:nvGraphicFramePr>
          <p:cNvPr id="4" name="Diagram 3">
            <a:extLst>
              <a:ext uri="{FF2B5EF4-FFF2-40B4-BE49-F238E27FC236}">
                <a16:creationId xmlns:a16="http://schemas.microsoft.com/office/drawing/2014/main" id="{A4003F08-C0DD-4678-9370-E4CC7A8401CE}"/>
              </a:ext>
            </a:extLst>
          </p:cNvPr>
          <p:cNvGraphicFramePr/>
          <p:nvPr>
            <p:extLst>
              <p:ext uri="{D42A27DB-BD31-4B8C-83A1-F6EECF244321}">
                <p14:modId xmlns:p14="http://schemas.microsoft.com/office/powerpoint/2010/main" val="1507342801"/>
              </p:ext>
            </p:extLst>
          </p:nvPr>
        </p:nvGraphicFramePr>
        <p:xfrm>
          <a:off x="240666" y="1113236"/>
          <a:ext cx="11504118" cy="5249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77623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655638" y="320040"/>
            <a:ext cx="10880725" cy="461665"/>
          </a:xfrm>
        </p:spPr>
        <p:txBody>
          <a:bodyPr wrap="square" anchor="t">
            <a:normAutofit/>
          </a:bodyPr>
          <a:lstStyle/>
          <a:p>
            <a:r>
              <a:rPr lang="en-US" dirty="0"/>
              <a:t>DBCC IND</a:t>
            </a:r>
          </a:p>
        </p:txBody>
      </p:sp>
      <p:pic>
        <p:nvPicPr>
          <p:cNvPr id="7" name="Picture 6">
            <a:extLst>
              <a:ext uri="{FF2B5EF4-FFF2-40B4-BE49-F238E27FC236}">
                <a16:creationId xmlns:a16="http://schemas.microsoft.com/office/drawing/2014/main" id="{3B357F2E-855B-C0F3-E048-8747F6E9E236}"/>
              </a:ext>
            </a:extLst>
          </p:cNvPr>
          <p:cNvPicPr>
            <a:picLocks noChangeAspect="1"/>
          </p:cNvPicPr>
          <p:nvPr/>
        </p:nvPicPr>
        <p:blipFill>
          <a:blip r:embed="rId3"/>
          <a:stretch>
            <a:fillRect/>
          </a:stretch>
        </p:blipFill>
        <p:spPr>
          <a:xfrm>
            <a:off x="655638" y="1381539"/>
            <a:ext cx="10880726" cy="459187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54998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2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2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2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2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10.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2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7.xml><?xml version="1.0" encoding="utf-8"?>
<a:theme xmlns:a="http://schemas.openxmlformats.org/drawingml/2006/main" name="2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8.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9.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920905D1-23C9-45E4-9312-936F5C6097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FDF350C7-94E8-4D0F-AE22-38F437380DED}">
  <ds:schemaRefs>
    <ds:schemaRef ds:uri="Strauss.PersonalizationDefinition"/>
  </ds:schemaRefs>
</ds:datastoreItem>
</file>

<file path=customXml/itemProps11.xml><?xml version="1.0" encoding="utf-8"?>
<ds:datastoreItem xmlns:ds="http://schemas.openxmlformats.org/officeDocument/2006/customXml" ds:itemID="{5319EDF9-1291-4762-B099-14F0AC870E88}">
  <ds:schemaRefs>
    <ds:schemaRef ds:uri="Strauss.PersonalizationDefinition"/>
  </ds:schemaRefs>
</ds:datastoreItem>
</file>

<file path=customXml/itemProps12.xml><?xml version="1.0" encoding="utf-8"?>
<ds:datastoreItem xmlns:ds="http://schemas.openxmlformats.org/officeDocument/2006/customXml" ds:itemID="{99EE0433-4F8D-4900-964C-922EBDC3FFC3}">
  <ds:schemaRefs>
    <ds:schemaRef ds:uri="Strauss.PersonalizationDefinition"/>
  </ds:schemaRefs>
</ds:datastoreItem>
</file>

<file path=customXml/itemProps13.xml><?xml version="1.0" encoding="utf-8"?>
<ds:datastoreItem xmlns:ds="http://schemas.openxmlformats.org/officeDocument/2006/customXml" ds:itemID="{2D3403FF-6FE4-4DD0-8DAF-492C52B59F10}">
  <ds:schemaRefs>
    <ds:schemaRef ds:uri="Strauss.PersonalizationDefinition"/>
  </ds:schemaRefs>
</ds:datastoreItem>
</file>

<file path=customXml/itemProps14.xml><?xml version="1.0" encoding="utf-8"?>
<ds:datastoreItem xmlns:ds="http://schemas.openxmlformats.org/officeDocument/2006/customXml" ds:itemID="{C5285313-F55F-42C2-BF9A-066CABB51CDB}">
  <ds:schemaRefs>
    <ds:schemaRef ds:uri="Strauss.PersonalizationDefinition"/>
  </ds:schemaRefs>
</ds:datastoreItem>
</file>

<file path=customXml/itemProps15.xml><?xml version="1.0" encoding="utf-8"?>
<ds:datastoreItem xmlns:ds="http://schemas.openxmlformats.org/officeDocument/2006/customXml" ds:itemID="{8A4789B3-563F-4B20-AF11-A45A6247B950}">
  <ds:schemaRefs>
    <ds:schemaRef ds:uri="Strauss.PersonalizationDefinition"/>
  </ds:schemaRefs>
</ds:datastoreItem>
</file>

<file path=customXml/itemProps2.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3.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4.xml><?xml version="1.0" encoding="utf-8"?>
<ds:datastoreItem xmlns:ds="http://schemas.openxmlformats.org/officeDocument/2006/customXml" ds:itemID="{0C362A7E-8756-4C67-942B-DEB170D77041}">
  <ds:schemaRefs>
    <ds:schemaRef ds:uri="Strauss.PersonalizationDefinition"/>
  </ds:schemaRefs>
</ds:datastoreItem>
</file>

<file path=customXml/itemProps5.xml><?xml version="1.0" encoding="utf-8"?>
<ds:datastoreItem xmlns:ds="http://schemas.openxmlformats.org/officeDocument/2006/customXml" ds:itemID="{29CF1895-980C-4D49-B7FD-693D62A77103}">
  <ds:schemaRefs>
    <ds:schemaRef ds:uri="Strauss.PersonalizationDefinition"/>
  </ds:schemaRefs>
</ds:datastoreItem>
</file>

<file path=customXml/itemProps6.xml><?xml version="1.0" encoding="utf-8"?>
<ds:datastoreItem xmlns:ds="http://schemas.openxmlformats.org/officeDocument/2006/customXml" ds:itemID="{4C04CDDE-2D6B-4F45-8A75-E18007E562B8}">
  <ds:schemaRefs>
    <ds:schemaRef ds:uri="Strauss.PersonalizationDefinition"/>
  </ds:schemaRefs>
</ds:datastoreItem>
</file>

<file path=customXml/itemProps7.xml><?xml version="1.0" encoding="utf-8"?>
<ds:datastoreItem xmlns:ds="http://schemas.openxmlformats.org/officeDocument/2006/customXml" ds:itemID="{35A184F6-9A4D-432E-BD2E-8543C142498D}">
  <ds:schemaRefs>
    <ds:schemaRef ds:uri="Strauss.PersonalizationDefinition"/>
  </ds:schemaRefs>
</ds:datastoreItem>
</file>

<file path=customXml/itemProps8.xml><?xml version="1.0" encoding="utf-8"?>
<ds:datastoreItem xmlns:ds="http://schemas.openxmlformats.org/officeDocument/2006/customXml" ds:itemID="{CD086AF5-CCD3-41C8-B98A-2B159789D38E}">
  <ds:schemaRefs>
    <ds:schemaRef ds:uri="Strauss.PersonalizationDefinition"/>
  </ds:schemaRefs>
</ds:datastoreItem>
</file>

<file path=customXml/itemProps9.xml><?xml version="1.0" encoding="utf-8"?>
<ds:datastoreItem xmlns:ds="http://schemas.openxmlformats.org/officeDocument/2006/customXml" ds:itemID="{EBCC33FC-94BB-4B1D-A4C6-D2E6A3A4B1F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4014</TotalTime>
  <Words>15314</Words>
  <Application>Microsoft Office PowerPoint</Application>
  <PresentationFormat>Widescreen</PresentationFormat>
  <Paragraphs>1226</Paragraphs>
  <Slides>71</Slides>
  <Notes>63</Notes>
  <HiddenSlides>1</HiddenSlides>
  <MMClips>0</MMClips>
  <ScaleCrop>false</ScaleCrop>
  <HeadingPairs>
    <vt:vector size="6" baseType="variant">
      <vt:variant>
        <vt:lpstr>Fonts Used</vt:lpstr>
      </vt:variant>
      <vt:variant>
        <vt:i4>15</vt:i4>
      </vt:variant>
      <vt:variant>
        <vt:lpstr>Theme</vt:lpstr>
      </vt:variant>
      <vt:variant>
        <vt:i4>9</vt:i4>
      </vt:variant>
      <vt:variant>
        <vt:lpstr>Slide Titles</vt:lpstr>
      </vt:variant>
      <vt:variant>
        <vt:i4>71</vt:i4>
      </vt:variant>
    </vt:vector>
  </HeadingPairs>
  <TitlesOfParts>
    <vt:vector size="95" baseType="lpstr">
      <vt:lpstr>&amp;quot</vt:lpstr>
      <vt:lpstr>Arial</vt:lpstr>
      <vt:lpstr>Calibri</vt:lpstr>
      <vt:lpstr>Calibri Light</vt:lpstr>
      <vt:lpstr>Comic Sans MS</vt:lpstr>
      <vt:lpstr>Consolas</vt:lpstr>
      <vt:lpstr>Lucida Console</vt:lpstr>
      <vt:lpstr>Roboto</vt:lpstr>
      <vt:lpstr>Roboto Slab</vt:lpstr>
      <vt:lpstr>Segoe UI</vt:lpstr>
      <vt:lpstr>Segoe UI Light</vt:lpstr>
      <vt:lpstr>Segoe UI Semibold</vt:lpstr>
      <vt:lpstr>SegoeUI</vt:lpstr>
      <vt:lpstr>wf_segoe-ui_normal</vt:lpstr>
      <vt:lpstr>Wingdings</vt:lpstr>
      <vt:lpstr>CORE TEMPLATE</vt:lpstr>
      <vt:lpstr>4_CORE TEMPLATE</vt:lpstr>
      <vt:lpstr>Microsoft 365 PPT Template - 2018</vt:lpstr>
      <vt:lpstr>Workshop</vt:lpstr>
      <vt:lpstr>2_Dark Blue</vt:lpstr>
      <vt:lpstr>1_Workshop</vt:lpstr>
      <vt:lpstr>2_Workshop</vt:lpstr>
      <vt:lpstr>Dark Blue</vt:lpstr>
      <vt:lpstr>1_Dark Blue</vt:lpstr>
      <vt:lpstr>SQL Server I/O and Database Structure</vt:lpstr>
      <vt:lpstr>PowerPoint Presentation</vt:lpstr>
      <vt:lpstr>Learning Units covered in this Module</vt:lpstr>
      <vt:lpstr>Lesson 1: SQL Server Page Structure</vt:lpstr>
      <vt:lpstr>Objectives</vt:lpstr>
      <vt:lpstr>Pages and Extents architecture</vt:lpstr>
      <vt:lpstr>Page types</vt:lpstr>
      <vt:lpstr>Row Storage</vt:lpstr>
      <vt:lpstr>DBCC IND</vt:lpstr>
      <vt:lpstr>DBCC PAGE</vt:lpstr>
      <vt:lpstr>New DMF</vt:lpstr>
      <vt:lpstr>Demonstration</vt:lpstr>
      <vt:lpstr>Questions?</vt:lpstr>
      <vt:lpstr>Knowledge Check</vt:lpstr>
      <vt:lpstr>Lesson 2: SQL Server Disk I/O</vt:lpstr>
      <vt:lpstr>Objectives</vt:lpstr>
      <vt:lpstr>Database files and filegroups</vt:lpstr>
      <vt:lpstr>SQL Server disk I/O patterns:</vt:lpstr>
      <vt:lpstr>Database files and filegroups</vt:lpstr>
      <vt:lpstr>SQL Server Disk I/O (Write-Ahead Logging)</vt:lpstr>
      <vt:lpstr>SQL Server Buffer Pool</vt:lpstr>
      <vt:lpstr>Log Buffer Flushing</vt:lpstr>
      <vt:lpstr>Checkpoints</vt:lpstr>
      <vt:lpstr>SET STATISTICS IO</vt:lpstr>
      <vt:lpstr>Total Query Response Time</vt:lpstr>
      <vt:lpstr>Demonstration</vt:lpstr>
      <vt:lpstr>Notable Waits</vt:lpstr>
      <vt:lpstr>Disk I/O monitoring and troubleshooting</vt:lpstr>
      <vt:lpstr>Disk I/O</vt:lpstr>
      <vt:lpstr>Questions?</vt:lpstr>
      <vt:lpstr>Knowledge Check</vt:lpstr>
      <vt:lpstr>Lesson 3: SQL Server Data File Structure</vt:lpstr>
      <vt:lpstr>Objectives</vt:lpstr>
      <vt:lpstr>SQL Server object allocation</vt:lpstr>
      <vt:lpstr>The Role of Allocation Pages in Object Allocation</vt:lpstr>
      <vt:lpstr>Allocation objects</vt:lpstr>
      <vt:lpstr>Database File page layout</vt:lpstr>
      <vt:lpstr>SQL Server object allocation</vt:lpstr>
      <vt:lpstr>SQL Server object allocation (Trace Flag 1118)</vt:lpstr>
      <vt:lpstr>Tying it all together</vt:lpstr>
      <vt:lpstr>Differential Changed Map (DCM)</vt:lpstr>
      <vt:lpstr>Bulk Changed Map (BCM)</vt:lpstr>
      <vt:lpstr>Questions?</vt:lpstr>
      <vt:lpstr>Knowledge Check</vt:lpstr>
      <vt:lpstr>Lesson 4: SQL Server TempDB File Structure</vt:lpstr>
      <vt:lpstr>Objectives</vt:lpstr>
      <vt:lpstr>TempDB database</vt:lpstr>
      <vt:lpstr>What is stored in TempDB?</vt:lpstr>
      <vt:lpstr>Physical properties of TempDB</vt:lpstr>
      <vt:lpstr>Optimizing TempDB performance</vt:lpstr>
      <vt:lpstr>Performance improvements in TempDB</vt:lpstr>
      <vt:lpstr>Performance improvements in TempDB</vt:lpstr>
      <vt:lpstr>Performance improvements in TempDB</vt:lpstr>
      <vt:lpstr>Concurrent PFS, GAM, SGAM updates </vt:lpstr>
      <vt:lpstr>TempDB</vt:lpstr>
      <vt:lpstr>Questions?</vt:lpstr>
      <vt:lpstr>Knowledge Check</vt:lpstr>
      <vt:lpstr>Lesson 5: SQL Server Log File Structure</vt:lpstr>
      <vt:lpstr>Objectives</vt:lpstr>
      <vt:lpstr>SQL Server disk I/O patterns: transaction log</vt:lpstr>
      <vt:lpstr>Transaction Log</vt:lpstr>
      <vt:lpstr>Microsoft SQL Server Transaction Logging</vt:lpstr>
      <vt:lpstr>Page LSN and recovery</vt:lpstr>
      <vt:lpstr>Physical Log File Structure</vt:lpstr>
      <vt:lpstr>Addressing VLF Counts</vt:lpstr>
      <vt:lpstr>SQL Server 2014 VLF Growth Improvement</vt:lpstr>
      <vt:lpstr>Addressing VLF Counts</vt:lpstr>
      <vt:lpstr>Demonstration</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91</cp:revision>
  <dcterms:created xsi:type="dcterms:W3CDTF">2019-08-12T16:24:54Z</dcterms:created>
  <dcterms:modified xsi:type="dcterms:W3CDTF">2024-01-31T08:0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